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5.xml" ContentType="application/vnd.openxmlformats-officedocument.them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22" r:id="rId3"/>
    <p:sldMasterId id="2147483758" r:id="rId4"/>
    <p:sldMasterId id="2147483808" r:id="rId5"/>
  </p:sldMasterIdLst>
  <p:notesMasterIdLst>
    <p:notesMasterId r:id="rId27"/>
  </p:notesMasterIdLst>
  <p:sldIdLst>
    <p:sldId id="2147480227" r:id="rId6"/>
    <p:sldId id="308" r:id="rId7"/>
    <p:sldId id="2147480191" r:id="rId8"/>
    <p:sldId id="2147480214" r:id="rId9"/>
    <p:sldId id="256" r:id="rId10"/>
    <p:sldId id="257" r:id="rId11"/>
    <p:sldId id="258" r:id="rId12"/>
    <p:sldId id="2147480222" r:id="rId13"/>
    <p:sldId id="2147480226" r:id="rId14"/>
    <p:sldId id="2147480225" r:id="rId15"/>
    <p:sldId id="2147480187" r:id="rId16"/>
    <p:sldId id="2147480221" r:id="rId17"/>
    <p:sldId id="2147480209" r:id="rId18"/>
    <p:sldId id="2147480223" r:id="rId19"/>
    <p:sldId id="2147480224" r:id="rId20"/>
    <p:sldId id="2147480203" r:id="rId21"/>
    <p:sldId id="2147480215" r:id="rId22"/>
    <p:sldId id="2147480216" r:id="rId23"/>
    <p:sldId id="2147480218" r:id="rId24"/>
    <p:sldId id="262" r:id="rId25"/>
    <p:sldId id="2147480228" r:id="rId2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111D72-DAD2-4B7E-AB76-7EF20187CE62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58FC36-98BF-44AA-8DC0-071342A38F9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4110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B935C-7C44-411F-83BE-6DF2428951A9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738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9.png"/><Relationship Id="rId7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2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ED5CC4-81CC-3A7C-9306-D54CC2D3B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EBF42AE-B840-27E4-43C1-5F816F6B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574CD21-9C68-366E-9DFE-30966F0C3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764CD2A-FCF2-A329-575F-9079E06D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42B8800-7216-B461-EF1B-13E170FBD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437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E2C74E5-C828-5C87-A29C-9139A1384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B88E549-04C4-1C42-6BAB-EC98AC630D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CB4C764-935B-BB49-0D53-D9A84E69D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4373A0E-7BC4-7775-ECE9-4BB805184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E035A93-B245-C18A-83F4-DF2EDB5D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63226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425451"/>
            <a:ext cx="8145137" cy="61277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1000"/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endParaRPr lang="en-US">
              <a:solidFill>
                <a:srgbClr val="2A2A2A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425783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84000" y="6422433"/>
            <a:ext cx="9360000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37941"/>
      </p:ext>
    </p:extLst>
  </p:cSld>
  <p:clrMapOvr>
    <a:masterClrMapping/>
  </p:clrMapOvr>
  <p:transition>
    <p:strips dir="rd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1632326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69" y="6401379"/>
            <a:ext cx="11418233" cy="230716"/>
          </a:xfrm>
        </p:spPr>
        <p:txBody>
          <a:bodyPr lIns="72000" anchor="b"/>
          <a:lstStyle>
            <a:lvl1pPr marL="0" indent="0">
              <a:buNone/>
              <a:defRPr sz="1067"/>
            </a:lvl1pPr>
            <a:lvl2pPr marL="353466" indent="0">
              <a:buNone/>
              <a:defRPr sz="1067"/>
            </a:lvl2pPr>
            <a:lvl3pPr marL="715397" indent="0">
              <a:buNone/>
              <a:defRPr sz="1067"/>
            </a:lvl3pPr>
            <a:lvl4pPr marL="1077330" indent="0">
              <a:buNone/>
              <a:defRPr sz="1067"/>
            </a:lvl4pPr>
            <a:lvl5pPr marL="1430795" indent="0">
              <a:buNone/>
              <a:defRPr sz="1067"/>
            </a:lvl5pPr>
          </a:lstStyle>
          <a:p>
            <a:pPr lvl="0"/>
            <a:r>
              <a:rPr lang="en-US"/>
              <a:t>References</a:t>
            </a:r>
            <a:endParaRPr lang="en-GB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05EA8DB4-D7E0-43E4-83A9-B402A9644AC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11433388" y="139701"/>
            <a:ext cx="558816" cy="185419"/>
          </a:xfrm>
          <a:prstGeom prst="rect">
            <a:avLst/>
          </a:prstGeom>
          <a:ln/>
        </p:spPr>
        <p:txBody>
          <a:bodyPr/>
          <a:lstStyle>
            <a:lvl1pPr algn="r">
              <a:defRPr sz="1067">
                <a:solidFill>
                  <a:srgbClr val="AEA79F"/>
                </a:solidFill>
              </a:defRPr>
            </a:lvl1pPr>
          </a:lstStyle>
          <a:p>
            <a:pPr>
              <a:defRPr/>
            </a:pPr>
            <a:fld id="{198D2DA1-799D-4AB3-8D6A-C84E9B4FB822}" type="slidenum">
              <a:rPr lang="en-GB" smtClean="0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287483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030637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Tagline" descr="{&quot;templafy&quot;:{&quot;id&quot;:&quot;e3df665a-8f46-4b5d-8e2b-161facb1978c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9546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4270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E56E277-C7C5-435D-8AD2-D5694A7BB9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6553200"/>
            <a:ext cx="11555505" cy="304800"/>
          </a:xfrm>
        </p:spPr>
        <p:txBody>
          <a:bodyPr vert="horz" lIns="90000" tIns="46800" rIns="90000" bIns="46800" rtlCol="0" anchor="b">
            <a:noAutofit/>
          </a:bodyPr>
          <a:lstStyle>
            <a:lvl1pPr marL="0" indent="0">
              <a:spcAft>
                <a:spcPts val="0"/>
              </a:spcAft>
              <a:buNone/>
              <a:defRPr lang="en-GB" sz="700" i="1" dirty="0"/>
            </a:lvl1pPr>
          </a:lstStyle>
          <a:p>
            <a:pPr marL="270000" lvl="0" indent="-270000">
              <a:spcBef>
                <a:spcPts val="0"/>
              </a:spcBef>
              <a:spcAft>
                <a:spcPts val="0"/>
              </a:spcAft>
            </a:pPr>
            <a:r>
              <a:rPr lang="en-US"/>
              <a:t>Referenc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7497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989975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 anchor="t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1998" y="5652000"/>
            <a:ext cx="1920001" cy="1548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44FC0115-4875-40D6-A8D9-5C4D9A459273}" type="datetime3">
              <a:rPr lang="en-US" smtClean="0"/>
              <a:pPr/>
              <a:t>31 March 2025</a:t>
            </a:fld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4589B76A-6F33-43A1-BEAC-5DD74727BC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40752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F7BCC4E-F40F-05D1-CCB7-2C3F29FFD9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EF23CE8-30ED-756D-F821-FC83B54061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3E4DC66-61C6-5B25-8B52-CCCDA0BC8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04EEA47-A89E-F4D0-53CE-53442789C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2BE46FF-7820-785B-92E4-3D685CBED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6313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7790294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0326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79958851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8322182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33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07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96027273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3293969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884192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7394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65889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383222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348540"/>
            <a:ext cx="10895999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1328208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408212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94456286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04901723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09741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86800881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18111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5019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171957467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2016672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203291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90BD2A53-E0E8-4741-9570-27A6978F3B78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1"/>
            <a:ext cx="36000" cy="474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a-DK" sz="133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77771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140232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728376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6706570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04472748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20575811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38800750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53330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09260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9543142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1415361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44FC0115-4875-40D6-A8D9-5C4D9A459273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4589B76A-6F33-43A1-BEAC-5DD74727BC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8346341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2979717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5344103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79187130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68901124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0283767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88390199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9842435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5996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57859866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442684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8699034A-DB2F-4958-9806-AEFE466D7AB3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242280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24601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75431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5667769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5" name="Subtitle 7"/>
          <p:cNvSpPr>
            <a:spLocks noGrp="1"/>
          </p:cNvSpPr>
          <p:nvPr>
            <p:ph type="subTitle" idx="14"/>
          </p:nvPr>
        </p:nvSpPr>
        <p:spPr>
          <a:xfrm>
            <a:off x="422400" y="1209112"/>
            <a:ext cx="11347200" cy="266301"/>
          </a:xfrm>
        </p:spPr>
        <p:txBody>
          <a:bodyPr/>
          <a:lstStyle>
            <a:lvl1pPr marL="0" indent="0">
              <a:buNone/>
              <a:defRPr sz="1600">
                <a:solidFill>
                  <a:srgbClr val="00B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400" y="6362700"/>
            <a:ext cx="11347200" cy="2286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67">
                <a:solidFill>
                  <a:schemeClr val="accent3"/>
                </a:solidFill>
              </a:defRPr>
            </a:lvl1pPr>
            <a:lvl2pPr marL="353474" indent="0">
              <a:buFontTx/>
              <a:buNone/>
              <a:defRPr/>
            </a:lvl2pPr>
            <a:lvl3pPr marL="715415" indent="0">
              <a:buFontTx/>
              <a:buNone/>
              <a:defRPr/>
            </a:lvl3pPr>
            <a:lvl4pPr marL="1077357" indent="0">
              <a:buFontTx/>
              <a:buNone/>
              <a:defRPr/>
            </a:lvl4pPr>
            <a:lvl5pPr marL="1430831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563093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105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4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74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41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5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831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464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DB8D4610-676C-4EF4-B1F4-CB964C8F8150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3949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8D676A-6B3E-4600-AEA0-531C2DAF5E48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7471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 bwMode="grayWhite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1" y="648000"/>
            <a:ext cx="1920001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154932B-CAF4-4887-967A-7DBC49158EB4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6997357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154932B-CAF4-4887-967A-7DBC49158EB4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6851693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C377899-65C3-0819-43A6-49944D58D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3B2A6FF-1EAD-FEC8-122C-B61B959385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06D1ADA-BC53-F51E-01C4-538EB2281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EB578A-8520-6010-E545-5EC4751F9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443AEA-44C7-35BF-39F7-AD36E5D69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61824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240FBF-8305-4F82-AD7B-5098CE85A03E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726725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5" y="647701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299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2" y="648000"/>
            <a:ext cx="7675975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0BF77BC-E865-4CCD-8D69-156999EAF8CB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334254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CE953C-AC85-4E49-A6E2-3902AA1608BD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6956524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263F9-D018-4DE9-AE2C-811FAB15C56E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9191223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6408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0565"/>
            <a:ext cx="4164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339FD-E012-4776-AAAF-DD2028955D79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0609480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940565"/>
            <a:ext cx="4163713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B8507-1BCC-4494-B067-6125449ACD98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93409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0565"/>
            <a:ext cx="4164001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C6640-0A4F-400C-8D9F-D372C0DBC601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2057048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0C906-7995-4285-B51F-8B8CFA816F0F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324000"/>
            <a:ext cx="4488000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6605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19F20-AE07-4AEB-AF8E-164A46937005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4384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A3B86-2E99-4D5A-9666-4AE3B57769E0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324000"/>
            <a:ext cx="4164001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662411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DD4B4D-D27C-4487-6922-C678DD6CE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344B712-EDC0-8017-B637-C696760BD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DEED012-D643-91DF-799F-26CAB49B2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4AA0A3A-5E32-4D24-6156-EA7AF6C99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B2C6A53-0C3B-0AE4-0FEC-2D9077821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90461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E7DBB5-D404-4034-A0B3-D7F31143893B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324000"/>
            <a:ext cx="1920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6419805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D95102-81B6-4A58-9978-8E5FE0CF4EDA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152333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67532-26CE-464F-8AF2-4CA009A8544A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0243606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22FA3-5D2D-49F9-BF94-E4C3D3B871DE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374069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36503-28B5-4831-A3C7-E7B009BE19D2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116792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3CFCCD3-0AE2-4C38-9A7F-E484B1E8CF9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2000" y="648000"/>
            <a:ext cx="8067600" cy="5562000"/>
          </a:xfrm>
        </p:spPr>
        <p:txBody>
          <a:bodyPr anchor="ctr"/>
          <a:lstStyle>
            <a:lvl1pPr>
              <a:lnSpc>
                <a:spcPct val="12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3429000"/>
            <a:ext cx="1920000" cy="27810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194743-088D-4DFF-8645-01481AFFE59D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44E7C209-74AB-4928-B52F-1ED3C6CFC5A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545438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D42066-5D13-4CA9-8F2A-410D70A7E3A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3792" y="648000"/>
            <a:ext cx="7531408" cy="5562000"/>
          </a:xfrm>
        </p:spPr>
        <p:txBody>
          <a:bodyPr anchor="ctr"/>
          <a:lstStyle>
            <a:lvl1pPr>
              <a:lnSpc>
                <a:spcPct val="12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779200"/>
            <a:ext cx="3041792" cy="3430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F443D6-A23D-4F34-AA8B-D8EEB04C9408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E3FA8B5C-51AE-4CBF-B3D5-16E4AB91FC0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3047523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Editori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581EB9-E0FA-446E-8021-1547926BE1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>
              <a:lnSpc>
                <a:spcPct val="12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24000" y="3429000"/>
            <a:ext cx="1920000" cy="2781000"/>
          </a:xfrm>
        </p:spPr>
        <p:txBody>
          <a:bodyPr anchor="t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25AD49-0AE1-418F-977B-D291FD79DB53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152DA9A1-3FA7-4BC8-9172-644A881C6F4B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0472078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8F7754C-3E86-406C-B149-CDBE81C128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>
              <a:lnSpc>
                <a:spcPct val="12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000" y="2781000"/>
            <a:ext cx="4164000" cy="34290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7299B3-696F-45BC-8E56-1C74D63E639F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B6E51AD8-D258-457C-9483-72C95483B71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4149932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F839-4B92-4EA0-A2E5-D41A6C25ABAD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763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208B7A-D44C-74C8-6D9D-15C2D4DD1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0B41F30-E486-71CF-8C97-8131DF8ED2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8AE7E5A-67A6-2346-D3A4-402D6FDF2D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6E93183-F49E-A4BA-A007-E79297C11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348E997-2A00-C91A-9839-9D30CB70F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C18F7C2-C7D6-7E8A-6989-24E6527F5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9648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FDB-4271-4C68-A703-EF1F536B75EF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27561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D69-C00A-46C7-AFEA-2A3B13BE34A9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7680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E9EB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3105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64A8D-000C-41ED-950D-72EC10DCD4C6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C40FC7-04A9-4263-9DB4-3DAAFE35D3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7999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3F5C81B-CCBB-449E-A906-622504023D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36001" y="648000"/>
            <a:ext cx="6408001" cy="31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BBF8239-2E8F-4667-916C-3F586A89212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35999" y="4077001"/>
            <a:ext cx="4164000" cy="2133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0901DBFD-EC7A-43B4-895D-0575D5391E8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23999" y="4076999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9176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73E82-C0DB-4B82-ABC7-7CF728783897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7508295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B.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DCFC2-230E-4FD6-8E87-D356D804C44A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951339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2B9CA2-FCF6-4411-BE43-CEE3EB581CD0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352974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43247-24DB-41C0-A642-086B46ACAA44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6725872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52876-908E-444B-9835-ADB51D6628AB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3221298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0B67E-998B-4D45-BA54-A1E612DB3CD6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093570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6BB79-7576-480D-960F-3B4B37225968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472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BBAF00C-5BF8-0BBD-AC4F-FB1D19F9C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B7B8D49-E175-FA3A-4FEF-82A11FA2D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D9DECEE-E184-CA30-6A00-36C3E700B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6E18FF0A-3812-6F0F-9FF2-539DD8B795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E7B22C0-085B-DE1A-E092-048D1E94C3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A71E727-CED4-1BDD-56C6-0D8656C75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927D0C06-6923-BE63-534F-96165A4D4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18C7061C-2E5D-7931-EC17-B8A9E97D0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5683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81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8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81" y="3322849"/>
            <a:ext cx="257143" cy="285715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2" y="2599669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4413" y="3118827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2" y="4313403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2" y="5641557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0434" y="3928567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7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6197" y="4635850"/>
            <a:ext cx="650851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1" y="5077013"/>
            <a:ext cx="475428" cy="17676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5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17A2F329-74D5-4599-B454-994C3A5E5AA3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9601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FED93FBC-0A9E-4A96-B0F8-8555185C6A52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2535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5ABC87-3A04-44FB-BB7A-33BF50DF4E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8633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5ABC87-3A04-44FB-BB7A-33BF50DF4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4D5D10-6667-455E-9FA4-485E2099BA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noProof="0" dirty="0" err="1">
              <a:latin typeface="Apis For Office" panose="020B0504010101010104" pitchFamily="34" charset="0"/>
              <a:ea typeface="+mj-ea"/>
              <a:cs typeface="+mj-cs"/>
              <a:sym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0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NCon slidepack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958810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8CEAB-194B-4BB7-878C-8A5F4A23A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43173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88CEAB-194B-4BB7-878C-8A5F4A23A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CC7046-C418-4EF4-9FEF-B23805165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A7C7A4-676C-4857-86C2-A2C8FBC5824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2401" y="1749631"/>
            <a:ext cx="11346265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5CCE8F-9ABF-4CEF-89BD-59D8FB32D8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335" y="1047571"/>
            <a:ext cx="11345333" cy="431800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rgbClr val="009FDA"/>
                </a:solidFill>
              </a:defRPr>
            </a:lvl1pPr>
          </a:lstStyle>
          <a:p>
            <a:pPr lvl="0"/>
            <a:r>
              <a:rPr lang="en-GB" sz="1867" dirty="0"/>
              <a:t>CLICK TO ENTER SUBTIT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4A838FA-40C4-4CCF-959E-12AB380A1C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2401" y="5702301"/>
            <a:ext cx="11346267" cy="1036632"/>
          </a:xfrm>
        </p:spPr>
        <p:txBody>
          <a:bodyPr rIns="0" anchor="b">
            <a:noAutofit/>
          </a:bodyPr>
          <a:lstStyle>
            <a:lvl1pPr marL="0" marR="0" indent="0" algn="l" defTabSz="12191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933" baseline="0">
                <a:solidFill>
                  <a:srgbClr val="82786F"/>
                </a:solidFill>
              </a:defRPr>
            </a:lvl1pPr>
          </a:lstStyle>
          <a:p>
            <a:r>
              <a:rPr lang="da-DK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6640F9-9921-4116-B82E-28EE1A934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400" y="128981"/>
            <a:ext cx="11347200" cy="882007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30388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57" y="6019901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74" y="125269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337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/>
              <a:t>Confidential - Semaglutide Obesity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6D5905A-2D86-4941-AAE9-D40D1BB6A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58" y="638141"/>
            <a:ext cx="11346265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0868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Date</a:t>
            </a: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59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N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924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F2FC6-23E8-48CD-A276-3ECDE64404D0}" type="datetimeFigureOut">
              <a:rPr lang="en-US"/>
              <a:pPr>
                <a:defRPr/>
              </a:pPr>
              <a:t>3/31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 sz="1333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A242FF-823C-4245-8B44-3CD2F88AC32A}" type="slidenum">
              <a:rPr lang="en-US"/>
              <a:pPr>
                <a:defRPr/>
              </a:pPr>
              <a:t>‹N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7F9679-645F-4A95-BFEF-C217101CF93F}"/>
              </a:ext>
            </a:extLst>
          </p:cNvPr>
          <p:cNvSpPr/>
          <p:nvPr userDrawn="1"/>
        </p:nvSpPr>
        <p:spPr>
          <a:xfrm>
            <a:off x="0" y="1556089"/>
            <a:ext cx="12192000" cy="4372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618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250300"/>
            <a:ext cx="10896000" cy="333651"/>
          </a:xfrm>
        </p:spPr>
        <p:txBody>
          <a:bodyPr/>
          <a:lstStyle>
            <a:lvl1pPr>
              <a:defRPr sz="1200">
                <a:solidFill>
                  <a:srgbClr val="3B97DE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0897200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rgbClr val="001965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2" y="648002"/>
            <a:ext cx="10896001" cy="553999"/>
          </a:xfrm>
        </p:spPr>
        <p:txBody>
          <a:bodyPr>
            <a:spAutoFit/>
          </a:bodyPr>
          <a:lstStyle>
            <a:lvl1pPr marL="0" indent="0">
              <a:buNone/>
              <a:defRPr sz="36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0AE912-2EBF-401E-B611-2FAEC74319F3}"/>
              </a:ext>
            </a:extLst>
          </p:cNvPr>
          <p:cNvCxnSpPr>
            <a:cxnSpLocks/>
          </p:cNvCxnSpPr>
          <p:nvPr userDrawn="1"/>
        </p:nvCxnSpPr>
        <p:spPr>
          <a:xfrm>
            <a:off x="0" y="1660155"/>
            <a:ext cx="12192000" cy="0"/>
          </a:xfrm>
          <a:prstGeom prst="line">
            <a:avLst/>
          </a:prstGeom>
          <a:ln w="38100">
            <a:solidFill>
              <a:srgbClr val="E9EB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12182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2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2" y="2488125"/>
            <a:ext cx="5286375" cy="37136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4" y="647701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1" y="968517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87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V="1">
            <a:off x="2657463" y="2889873"/>
            <a:ext cx="6858000" cy="72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38200" y="2512710"/>
            <a:ext cx="10515600" cy="4066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344C68-DFC3-451C-9A36-4B1B51D2A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248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46DA1D-BCC5-FBE0-7869-31393B742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0DF230B-6988-45A3-ACB4-E0E205CAA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770E23B-D55A-445C-C607-3589D46C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108C905-3CCC-B0E5-DD4D-63BF0AECA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53502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blue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48" y="548640"/>
            <a:ext cx="11430000" cy="457200"/>
          </a:xfrm>
          <a:prstGeom prst="rect">
            <a:avLst/>
          </a:prstGeom>
          <a:gradFill>
            <a:gsLst>
              <a:gs pos="15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 anchor="ctr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42128B-F057-4734-B9C3-5D01454A1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pos="240">
          <p15:clr>
            <a:srgbClr val="FBAE40"/>
          </p15:clr>
        </p15:guide>
        <p15:guide id="5" orient="horz" pos="3984">
          <p15:clr>
            <a:srgbClr val="FBAE40"/>
          </p15:clr>
        </p15:guide>
        <p15:guide id="6" orient="horz" pos="33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clear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530352"/>
            <a:ext cx="11430000" cy="451304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4F9B5D-514A-4FC8-A932-8D769E794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36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al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530352"/>
            <a:ext cx="11430000" cy="451304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67B6E6-733A-4E6B-8A1D-795360F43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22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 in Dev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49224"/>
            <a:ext cx="8549640" cy="451304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3917CA-035C-4141-9794-E421F2F87E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38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text for lef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890551" y="533400"/>
            <a:ext cx="2916243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2935E5-E670-4FD9-9795-6A2561291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9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40">
          <p15:clr>
            <a:srgbClr val="FBAE40"/>
          </p15:clr>
        </p15:guide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533400"/>
            <a:ext cx="11430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9973EB-E56A-48A1-BEA9-4A2EBE16D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03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533400"/>
            <a:ext cx="5715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22BDF4-B1FE-4191-8CF9-7BE0A01FB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73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40">
          <p15:clr>
            <a:srgbClr val="FBAE40"/>
          </p15:clr>
        </p15:guide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0739" y="533400"/>
            <a:ext cx="5715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937949A-A65B-4E0E-821A-7655E5E53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5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  <p15:guide id="4" pos="7440">
          <p15:clr>
            <a:srgbClr val="FBAE40"/>
          </p15:clr>
        </p15:guide>
        <p15:guide id="5" orient="horz" pos="3984">
          <p15:clr>
            <a:srgbClr val="FBAE40"/>
          </p15:clr>
        </p15:guide>
        <p15:guide id="6" orient="horz" pos="33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: NAF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900" y="590385"/>
            <a:ext cx="11543593" cy="457200"/>
          </a:xfrm>
          <a:solidFill>
            <a:schemeClr val="accent1"/>
          </a:solidFill>
          <a:ln w="127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01900" y="1068389"/>
            <a:ext cx="11542969" cy="51117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FB41B-B155-484E-81C3-547FD91EE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7580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94B291F-A275-4553-823D-111A987F6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57201"/>
            <a:ext cx="11430000" cy="350491"/>
          </a:xfrm>
          <a:prstGeom prst="rect">
            <a:avLst/>
          </a:prstGeom>
        </p:spPr>
        <p:txBody>
          <a:bodyPr anchor="ctr"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799D10-8286-49D6-9050-6BF29C77D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7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857E305-31A8-0C85-9795-3637498C4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DAA64D5-42CB-5185-2DED-907685A55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032C11-2D8B-F964-896C-A190EC7AB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96113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5277C09-E980-43CD-BD1E-D39BE13C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46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71" y="6401379"/>
            <a:ext cx="10463548" cy="230716"/>
          </a:xfrm>
        </p:spPr>
        <p:txBody>
          <a:bodyPr lIns="54000" anchor="b"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accent3"/>
                </a:solidFill>
              </a:defRPr>
            </a:lvl1pPr>
            <a:lvl2pPr marL="353450" indent="0">
              <a:buNone/>
              <a:defRPr sz="1067"/>
            </a:lvl2pPr>
            <a:lvl3pPr marL="715361" indent="0">
              <a:buNone/>
              <a:defRPr sz="1067"/>
            </a:lvl3pPr>
            <a:lvl4pPr marL="1077277" indent="0">
              <a:buNone/>
              <a:defRPr sz="1067"/>
            </a:lvl4pPr>
            <a:lvl5pPr marL="1430723" indent="0">
              <a:buNone/>
              <a:defRPr sz="1067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155709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145E7FE-6049-44E5-8568-90F4FF094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D3BE035-44C4-42E8-9BA4-94D6F05E5C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19C5E72-B9D9-4820-94BC-CB2B911D9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CEA9A-DC36-4A46-B0BD-0E450E4E9642}" type="datetimeFigureOut">
              <a:rPr lang="en-GB" smtClean="0"/>
              <a:t>31/03/2025</a:t>
            </a:fld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D7BB08E-875C-48DA-A382-69D10BCBC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27C793E-AAC5-4C92-9083-CBB7A2126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3DAC0-135E-4953-AB58-7F67BB610038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3483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2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10D2D36D-C2C4-4D0D-B0F1-A274C175CDEE}" type="slidenum">
              <a:rPr lang="en-GB" smtClean="0"/>
              <a:pPr>
                <a:defRPr/>
              </a:pPr>
              <a:t>‹N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 marL="0" indent="0">
              <a:buNone/>
              <a:defRPr>
                <a:solidFill>
                  <a:srgbClr val="82786F"/>
                </a:solidFill>
              </a:defRPr>
            </a:lvl1pPr>
          </a:lstStyle>
          <a:p>
            <a:r>
              <a:rPr lang="en-GB" dirty="0"/>
              <a:t>Marso </a:t>
            </a:r>
            <a:r>
              <a:rPr lang="en-GB" i="1" dirty="0"/>
              <a:t>et al. NEJM</a:t>
            </a:r>
            <a:r>
              <a:rPr lang="en-GB" dirty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4268" y="6440089"/>
            <a:ext cx="11345333" cy="181625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  <a:lvl2pPr marL="353458" indent="0">
              <a:buNone/>
              <a:defRPr sz="1200"/>
            </a:lvl2pPr>
            <a:lvl3pPr marL="715379" indent="0">
              <a:buNone/>
              <a:defRPr sz="1200"/>
            </a:lvl3pPr>
            <a:lvl4pPr marL="1077304" indent="0">
              <a:buNone/>
              <a:defRPr sz="1200"/>
            </a:lvl4pPr>
            <a:lvl5pPr marL="1430759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1466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96281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941233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31 March 2025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974329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472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em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oup 199">
            <a:extLst>
              <a:ext uri="{FF2B5EF4-FFF2-40B4-BE49-F238E27FC236}">
                <a16:creationId xmlns:a16="http://schemas.microsoft.com/office/drawing/2014/main" id="{205CDF6F-2ADC-48D6-AC02-A4CA37C721CF}"/>
              </a:ext>
            </a:extLst>
          </p:cNvPr>
          <p:cNvGrpSpPr/>
          <p:nvPr userDrawn="1"/>
        </p:nvGrpSpPr>
        <p:grpSpPr>
          <a:xfrm>
            <a:off x="-12697" y="-2481"/>
            <a:ext cx="12204697" cy="5603480"/>
            <a:chOff x="-9523" y="-1861"/>
            <a:chExt cx="9153523" cy="4202610"/>
          </a:xfrm>
        </p:grpSpPr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BE5A0D24-1E00-4A53-A361-E06BF4A5A2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23" y="-1861"/>
              <a:ext cx="9153523" cy="4178075"/>
            </a:xfrm>
            <a:prstGeom prst="rect">
              <a:avLst/>
            </a:prstGeom>
          </p:spPr>
        </p:pic>
        <p:pic>
          <p:nvPicPr>
            <p:cNvPr id="202" name="Picture 201">
              <a:extLst>
                <a:ext uri="{FF2B5EF4-FFF2-40B4-BE49-F238E27FC236}">
                  <a16:creationId xmlns:a16="http://schemas.microsoft.com/office/drawing/2014/main" id="{C2B8021B-8BCD-4E2A-96B3-2DE01FFA0B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98862" y="841628"/>
              <a:ext cx="2807879" cy="2320799"/>
            </a:xfrm>
            <a:prstGeom prst="rect">
              <a:avLst/>
            </a:prstGeom>
            <a:effectLst>
              <a:glow rad="228600">
                <a:srgbClr val="FFFFFF"/>
              </a:glow>
            </a:effectLst>
          </p:spPr>
        </p:pic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66E221BC-12BA-44DC-8968-67717CEDA60A}"/>
                </a:ext>
              </a:extLst>
            </p:cNvPr>
            <p:cNvGrpSpPr/>
            <p:nvPr userDrawn="1"/>
          </p:nvGrpSpPr>
          <p:grpSpPr>
            <a:xfrm>
              <a:off x="4519433" y="3221494"/>
              <a:ext cx="721220" cy="555175"/>
              <a:chOff x="5343975" y="4058097"/>
              <a:chExt cx="1102766" cy="848878"/>
            </a:xfrm>
            <a:solidFill>
              <a:srgbClr val="FFFFFF"/>
            </a:solidFill>
          </p:grpSpPr>
          <p:sp>
            <p:nvSpPr>
              <p:cNvPr id="358" name="Freeform 179">
                <a:extLst>
                  <a:ext uri="{FF2B5EF4-FFF2-40B4-BE49-F238E27FC236}">
                    <a16:creationId xmlns:a16="http://schemas.microsoft.com/office/drawing/2014/main" id="{0DD8BCE8-6D0C-4AA2-8CCE-B8848EF69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9" name="Freeform 180">
                <a:extLst>
                  <a:ext uri="{FF2B5EF4-FFF2-40B4-BE49-F238E27FC236}">
                    <a16:creationId xmlns:a16="http://schemas.microsoft.com/office/drawing/2014/main" id="{28563B2E-E192-467E-A5F0-C4E72EEE3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0" name="Freeform 181">
                <a:extLst>
                  <a:ext uri="{FF2B5EF4-FFF2-40B4-BE49-F238E27FC236}">
                    <a16:creationId xmlns:a16="http://schemas.microsoft.com/office/drawing/2014/main" id="{037E6DCF-651C-4E3A-86C1-0D06E8CA4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1" name="Freeform 182">
                <a:extLst>
                  <a:ext uri="{FF2B5EF4-FFF2-40B4-BE49-F238E27FC236}">
                    <a16:creationId xmlns:a16="http://schemas.microsoft.com/office/drawing/2014/main" id="{7CE49889-797A-49DB-8C2B-71425B593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2" name="Freeform 183">
                <a:extLst>
                  <a:ext uri="{FF2B5EF4-FFF2-40B4-BE49-F238E27FC236}">
                    <a16:creationId xmlns:a16="http://schemas.microsoft.com/office/drawing/2014/main" id="{260B3637-984A-4EA3-A36E-6AF44ECF9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3" name="Freeform 184">
                <a:extLst>
                  <a:ext uri="{FF2B5EF4-FFF2-40B4-BE49-F238E27FC236}">
                    <a16:creationId xmlns:a16="http://schemas.microsoft.com/office/drawing/2014/main" id="{6DC13DBA-22BF-43B8-95D8-33E4BA2C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4" name="Freeform 185">
                <a:extLst>
                  <a:ext uri="{FF2B5EF4-FFF2-40B4-BE49-F238E27FC236}">
                    <a16:creationId xmlns:a16="http://schemas.microsoft.com/office/drawing/2014/main" id="{46EC7B5F-AD38-4FF9-A502-E2EE5B9CB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5" name="Freeform 186">
                <a:extLst>
                  <a:ext uri="{FF2B5EF4-FFF2-40B4-BE49-F238E27FC236}">
                    <a16:creationId xmlns:a16="http://schemas.microsoft.com/office/drawing/2014/main" id="{66AC351E-67AA-4241-BA8A-81B35184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6" name="Freeform 187">
                <a:extLst>
                  <a:ext uri="{FF2B5EF4-FFF2-40B4-BE49-F238E27FC236}">
                    <a16:creationId xmlns:a16="http://schemas.microsoft.com/office/drawing/2014/main" id="{07011B3A-9CAE-4C8F-836B-7976EC427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7" name="Freeform 188">
                <a:extLst>
                  <a:ext uri="{FF2B5EF4-FFF2-40B4-BE49-F238E27FC236}">
                    <a16:creationId xmlns:a16="http://schemas.microsoft.com/office/drawing/2014/main" id="{C48C343C-D0E8-4542-BF25-A60A5531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8" name="Freeform 189">
                <a:extLst>
                  <a:ext uri="{FF2B5EF4-FFF2-40B4-BE49-F238E27FC236}">
                    <a16:creationId xmlns:a16="http://schemas.microsoft.com/office/drawing/2014/main" id="{3B3A52E4-ABAB-421E-A786-2BE375DE5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9" name="Freeform 190">
                <a:extLst>
                  <a:ext uri="{FF2B5EF4-FFF2-40B4-BE49-F238E27FC236}">
                    <a16:creationId xmlns:a16="http://schemas.microsoft.com/office/drawing/2014/main" id="{413CAB41-D788-424C-9E7A-53B2DB86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0" name="Freeform 191">
                <a:extLst>
                  <a:ext uri="{FF2B5EF4-FFF2-40B4-BE49-F238E27FC236}">
                    <a16:creationId xmlns:a16="http://schemas.microsoft.com/office/drawing/2014/main" id="{3C20290A-83EF-44AC-9356-BB2D1A3F1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1" name="Freeform 192">
                <a:extLst>
                  <a:ext uri="{FF2B5EF4-FFF2-40B4-BE49-F238E27FC236}">
                    <a16:creationId xmlns:a16="http://schemas.microsoft.com/office/drawing/2014/main" id="{B79A57E3-2AFC-4AA1-A133-DD2C03BCD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2" name="Freeform 193">
                <a:extLst>
                  <a:ext uri="{FF2B5EF4-FFF2-40B4-BE49-F238E27FC236}">
                    <a16:creationId xmlns:a16="http://schemas.microsoft.com/office/drawing/2014/main" id="{DE819656-3E6A-4E0F-B665-562DA731C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3" name="Freeform 194">
                <a:extLst>
                  <a:ext uri="{FF2B5EF4-FFF2-40B4-BE49-F238E27FC236}">
                    <a16:creationId xmlns:a16="http://schemas.microsoft.com/office/drawing/2014/main" id="{E0D08782-5006-41D5-BC1B-BD0168DCE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4" name="Freeform 195">
                <a:extLst>
                  <a:ext uri="{FF2B5EF4-FFF2-40B4-BE49-F238E27FC236}">
                    <a16:creationId xmlns:a16="http://schemas.microsoft.com/office/drawing/2014/main" id="{275CF134-8F74-4F96-98AF-139509FA2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5" name="Freeform 196">
                <a:extLst>
                  <a:ext uri="{FF2B5EF4-FFF2-40B4-BE49-F238E27FC236}">
                    <a16:creationId xmlns:a16="http://schemas.microsoft.com/office/drawing/2014/main" id="{147B8036-0219-49D1-9D2B-796ABFC67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6" name="Freeform 197">
                <a:extLst>
                  <a:ext uri="{FF2B5EF4-FFF2-40B4-BE49-F238E27FC236}">
                    <a16:creationId xmlns:a16="http://schemas.microsoft.com/office/drawing/2014/main" id="{19C65CA1-779C-4783-9DA8-B5DD27F26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7" name="Freeform 198">
                <a:extLst>
                  <a:ext uri="{FF2B5EF4-FFF2-40B4-BE49-F238E27FC236}">
                    <a16:creationId xmlns:a16="http://schemas.microsoft.com/office/drawing/2014/main" id="{72312AE6-8B12-441A-9968-8459502F7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8" name="Freeform 199">
                <a:extLst>
                  <a:ext uri="{FF2B5EF4-FFF2-40B4-BE49-F238E27FC236}">
                    <a16:creationId xmlns:a16="http://schemas.microsoft.com/office/drawing/2014/main" id="{B62658C9-D981-4E0A-B567-D22E27778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9" name="Freeform 200">
                <a:extLst>
                  <a:ext uri="{FF2B5EF4-FFF2-40B4-BE49-F238E27FC236}">
                    <a16:creationId xmlns:a16="http://schemas.microsoft.com/office/drawing/2014/main" id="{7D391CD3-C5F4-4919-9DAE-B1654A497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0" name="Freeform 201">
                <a:extLst>
                  <a:ext uri="{FF2B5EF4-FFF2-40B4-BE49-F238E27FC236}">
                    <a16:creationId xmlns:a16="http://schemas.microsoft.com/office/drawing/2014/main" id="{676A7B10-6F21-41CA-88EC-ED9423E7AB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1" name="Freeform 202">
                <a:extLst>
                  <a:ext uri="{FF2B5EF4-FFF2-40B4-BE49-F238E27FC236}">
                    <a16:creationId xmlns:a16="http://schemas.microsoft.com/office/drawing/2014/main" id="{AC3281B3-4911-4EED-8F3F-BB7C8B6E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2" name="Freeform 203">
                <a:extLst>
                  <a:ext uri="{FF2B5EF4-FFF2-40B4-BE49-F238E27FC236}">
                    <a16:creationId xmlns:a16="http://schemas.microsoft.com/office/drawing/2014/main" id="{A976F93E-7F98-4FBD-86FE-94AA92581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3" name="Freeform 204">
                <a:extLst>
                  <a:ext uri="{FF2B5EF4-FFF2-40B4-BE49-F238E27FC236}">
                    <a16:creationId xmlns:a16="http://schemas.microsoft.com/office/drawing/2014/main" id="{1580D61C-C0FD-4937-A8FA-432989E6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4" name="Freeform 206">
                <a:extLst>
                  <a:ext uri="{FF2B5EF4-FFF2-40B4-BE49-F238E27FC236}">
                    <a16:creationId xmlns:a16="http://schemas.microsoft.com/office/drawing/2014/main" id="{254DDD62-2CAB-48EA-9EB5-56AE281A6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5" name="Freeform 207">
                <a:extLst>
                  <a:ext uri="{FF2B5EF4-FFF2-40B4-BE49-F238E27FC236}">
                    <a16:creationId xmlns:a16="http://schemas.microsoft.com/office/drawing/2014/main" id="{130487DF-308B-4478-AF8B-43F5BF42F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6" name="Freeform 208">
                <a:extLst>
                  <a:ext uri="{FF2B5EF4-FFF2-40B4-BE49-F238E27FC236}">
                    <a16:creationId xmlns:a16="http://schemas.microsoft.com/office/drawing/2014/main" id="{84E95565-4662-427C-8B8C-BEDAA360C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3F5A8F9E-A8E6-4522-B200-E3F525031977}"/>
                </a:ext>
              </a:extLst>
            </p:cNvPr>
            <p:cNvGrpSpPr/>
            <p:nvPr userDrawn="1"/>
          </p:nvGrpSpPr>
          <p:grpSpPr>
            <a:xfrm>
              <a:off x="4158491" y="49664"/>
              <a:ext cx="640155" cy="492774"/>
              <a:chOff x="5343975" y="4058097"/>
              <a:chExt cx="1102766" cy="848878"/>
            </a:xfrm>
            <a:solidFill>
              <a:srgbClr val="FFFFFF">
                <a:alpha val="26000"/>
              </a:srgbClr>
            </a:solidFill>
          </p:grpSpPr>
          <p:sp>
            <p:nvSpPr>
              <p:cNvPr id="329" name="Freeform 179">
                <a:extLst>
                  <a:ext uri="{FF2B5EF4-FFF2-40B4-BE49-F238E27FC236}">
                    <a16:creationId xmlns:a16="http://schemas.microsoft.com/office/drawing/2014/main" id="{C2C05BBF-6048-416D-8BC8-37703A1F9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0" name="Freeform 180">
                <a:extLst>
                  <a:ext uri="{FF2B5EF4-FFF2-40B4-BE49-F238E27FC236}">
                    <a16:creationId xmlns:a16="http://schemas.microsoft.com/office/drawing/2014/main" id="{5CCFF21D-9DFD-4771-97EB-24FE5AFE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1" name="Freeform 181">
                <a:extLst>
                  <a:ext uri="{FF2B5EF4-FFF2-40B4-BE49-F238E27FC236}">
                    <a16:creationId xmlns:a16="http://schemas.microsoft.com/office/drawing/2014/main" id="{3E9AE88C-48E5-450A-88DD-3C7C7847F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2" name="Freeform 182">
                <a:extLst>
                  <a:ext uri="{FF2B5EF4-FFF2-40B4-BE49-F238E27FC236}">
                    <a16:creationId xmlns:a16="http://schemas.microsoft.com/office/drawing/2014/main" id="{566EBD64-7A71-4B43-9A3A-F8FC814E1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3" name="Freeform 183">
                <a:extLst>
                  <a:ext uri="{FF2B5EF4-FFF2-40B4-BE49-F238E27FC236}">
                    <a16:creationId xmlns:a16="http://schemas.microsoft.com/office/drawing/2014/main" id="{D17E9053-5ABD-4D36-AA98-CA4B29347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4" name="Freeform 184">
                <a:extLst>
                  <a:ext uri="{FF2B5EF4-FFF2-40B4-BE49-F238E27FC236}">
                    <a16:creationId xmlns:a16="http://schemas.microsoft.com/office/drawing/2014/main" id="{02815817-CC9A-498F-AE4B-AFCCFC044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5" name="Freeform 185">
                <a:extLst>
                  <a:ext uri="{FF2B5EF4-FFF2-40B4-BE49-F238E27FC236}">
                    <a16:creationId xmlns:a16="http://schemas.microsoft.com/office/drawing/2014/main" id="{ACEC8D9E-85FD-45A7-8B7E-234E39C3F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6" name="Freeform 186">
                <a:extLst>
                  <a:ext uri="{FF2B5EF4-FFF2-40B4-BE49-F238E27FC236}">
                    <a16:creationId xmlns:a16="http://schemas.microsoft.com/office/drawing/2014/main" id="{EACFFB87-2225-49FC-9F2B-08AF52C48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7" name="Freeform 187">
                <a:extLst>
                  <a:ext uri="{FF2B5EF4-FFF2-40B4-BE49-F238E27FC236}">
                    <a16:creationId xmlns:a16="http://schemas.microsoft.com/office/drawing/2014/main" id="{C9459BEA-60FD-4DE3-B964-FC8B11B9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8" name="Freeform 188">
                <a:extLst>
                  <a:ext uri="{FF2B5EF4-FFF2-40B4-BE49-F238E27FC236}">
                    <a16:creationId xmlns:a16="http://schemas.microsoft.com/office/drawing/2014/main" id="{EA7FECEC-EAF7-447E-AA2B-D2BDB3084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9" name="Freeform 189">
                <a:extLst>
                  <a:ext uri="{FF2B5EF4-FFF2-40B4-BE49-F238E27FC236}">
                    <a16:creationId xmlns:a16="http://schemas.microsoft.com/office/drawing/2014/main" id="{F9B98DD7-EA0A-4DE3-A7AA-9CD9EBEA8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0" name="Freeform 190">
                <a:extLst>
                  <a:ext uri="{FF2B5EF4-FFF2-40B4-BE49-F238E27FC236}">
                    <a16:creationId xmlns:a16="http://schemas.microsoft.com/office/drawing/2014/main" id="{B0980F86-5BED-4B71-8A80-DC0DC87AF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1" name="Freeform 191">
                <a:extLst>
                  <a:ext uri="{FF2B5EF4-FFF2-40B4-BE49-F238E27FC236}">
                    <a16:creationId xmlns:a16="http://schemas.microsoft.com/office/drawing/2014/main" id="{D89D0555-4248-404A-BAAD-2AED415C0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2" name="Freeform 192">
                <a:extLst>
                  <a:ext uri="{FF2B5EF4-FFF2-40B4-BE49-F238E27FC236}">
                    <a16:creationId xmlns:a16="http://schemas.microsoft.com/office/drawing/2014/main" id="{94EFFB06-1CAE-4D1E-BFDF-092993070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3" name="Freeform 193">
                <a:extLst>
                  <a:ext uri="{FF2B5EF4-FFF2-40B4-BE49-F238E27FC236}">
                    <a16:creationId xmlns:a16="http://schemas.microsoft.com/office/drawing/2014/main" id="{B3C8CC02-1201-416B-911D-B6F3E697C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4" name="Freeform 194">
                <a:extLst>
                  <a:ext uri="{FF2B5EF4-FFF2-40B4-BE49-F238E27FC236}">
                    <a16:creationId xmlns:a16="http://schemas.microsoft.com/office/drawing/2014/main" id="{CC77B92A-E89C-419F-AF16-D68596E87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5" name="Freeform 195">
                <a:extLst>
                  <a:ext uri="{FF2B5EF4-FFF2-40B4-BE49-F238E27FC236}">
                    <a16:creationId xmlns:a16="http://schemas.microsoft.com/office/drawing/2014/main" id="{FECA5A4A-51CC-40F1-8549-F0DAB6AFB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6" name="Freeform 196">
                <a:extLst>
                  <a:ext uri="{FF2B5EF4-FFF2-40B4-BE49-F238E27FC236}">
                    <a16:creationId xmlns:a16="http://schemas.microsoft.com/office/drawing/2014/main" id="{E3C01515-CA64-4D37-8CAA-AA6915CD2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7" name="Freeform 197">
                <a:extLst>
                  <a:ext uri="{FF2B5EF4-FFF2-40B4-BE49-F238E27FC236}">
                    <a16:creationId xmlns:a16="http://schemas.microsoft.com/office/drawing/2014/main" id="{49811822-FFF8-46AB-B50B-66B422D44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8" name="Freeform 198">
                <a:extLst>
                  <a:ext uri="{FF2B5EF4-FFF2-40B4-BE49-F238E27FC236}">
                    <a16:creationId xmlns:a16="http://schemas.microsoft.com/office/drawing/2014/main" id="{70A1C37D-40B8-4EA4-894F-84F0C2A01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9" name="Freeform 199">
                <a:extLst>
                  <a:ext uri="{FF2B5EF4-FFF2-40B4-BE49-F238E27FC236}">
                    <a16:creationId xmlns:a16="http://schemas.microsoft.com/office/drawing/2014/main" id="{C2098D39-55F4-4E1A-934C-E43E3F01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0" name="Freeform 200">
                <a:extLst>
                  <a:ext uri="{FF2B5EF4-FFF2-40B4-BE49-F238E27FC236}">
                    <a16:creationId xmlns:a16="http://schemas.microsoft.com/office/drawing/2014/main" id="{A8E34F5A-F362-4C08-A4C7-201295BE7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1" name="Freeform 201">
                <a:extLst>
                  <a:ext uri="{FF2B5EF4-FFF2-40B4-BE49-F238E27FC236}">
                    <a16:creationId xmlns:a16="http://schemas.microsoft.com/office/drawing/2014/main" id="{26F523F1-DE15-453D-91ED-6770A19D5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2" name="Freeform 202">
                <a:extLst>
                  <a:ext uri="{FF2B5EF4-FFF2-40B4-BE49-F238E27FC236}">
                    <a16:creationId xmlns:a16="http://schemas.microsoft.com/office/drawing/2014/main" id="{3B622776-B143-4D7B-8133-3B1A2B3E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3" name="Freeform 203">
                <a:extLst>
                  <a:ext uri="{FF2B5EF4-FFF2-40B4-BE49-F238E27FC236}">
                    <a16:creationId xmlns:a16="http://schemas.microsoft.com/office/drawing/2014/main" id="{D09B8233-B62B-4CE4-A5A6-DA31D11F7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4" name="Freeform 204">
                <a:extLst>
                  <a:ext uri="{FF2B5EF4-FFF2-40B4-BE49-F238E27FC236}">
                    <a16:creationId xmlns:a16="http://schemas.microsoft.com/office/drawing/2014/main" id="{C664B4D2-5E06-42AD-A78B-24960AB0C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5" name="Freeform 206">
                <a:extLst>
                  <a:ext uri="{FF2B5EF4-FFF2-40B4-BE49-F238E27FC236}">
                    <a16:creationId xmlns:a16="http://schemas.microsoft.com/office/drawing/2014/main" id="{E2FC8ABA-4467-4010-A824-1CCC5A437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6" name="Freeform 207">
                <a:extLst>
                  <a:ext uri="{FF2B5EF4-FFF2-40B4-BE49-F238E27FC236}">
                    <a16:creationId xmlns:a16="http://schemas.microsoft.com/office/drawing/2014/main" id="{D4F759FB-7078-4FAB-B6D2-FC7CD87D9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7" name="Freeform 208">
                <a:extLst>
                  <a:ext uri="{FF2B5EF4-FFF2-40B4-BE49-F238E27FC236}">
                    <a16:creationId xmlns:a16="http://schemas.microsoft.com/office/drawing/2014/main" id="{E4ED3796-8490-41E3-ADF5-402DBDBA6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452B9F3B-1E77-430F-833E-E3E3A2EBF10F}"/>
                </a:ext>
              </a:extLst>
            </p:cNvPr>
            <p:cNvGrpSpPr/>
            <p:nvPr userDrawn="1"/>
          </p:nvGrpSpPr>
          <p:grpSpPr>
            <a:xfrm>
              <a:off x="7354923" y="3729924"/>
              <a:ext cx="311633" cy="438363"/>
              <a:chOff x="2370963" y="2220799"/>
              <a:chExt cx="581424" cy="817868"/>
            </a:xfrm>
            <a:solidFill>
              <a:srgbClr val="FFFFFF"/>
            </a:solidFill>
          </p:grpSpPr>
          <p:sp>
            <p:nvSpPr>
              <p:cNvPr id="320" name="Rectangle 58">
                <a:extLst>
                  <a:ext uri="{FF2B5EF4-FFF2-40B4-BE49-F238E27FC236}">
                    <a16:creationId xmlns:a16="http://schemas.microsoft.com/office/drawing/2014/main" id="{8C7E3443-145F-4BBF-9D84-FB62C4549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1" name="Freeform 59">
                <a:extLst>
                  <a:ext uri="{FF2B5EF4-FFF2-40B4-BE49-F238E27FC236}">
                    <a16:creationId xmlns:a16="http://schemas.microsoft.com/office/drawing/2014/main" id="{8F4C86E4-9217-46D2-8F0D-563C4C53D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2" name="Freeform 60">
                <a:extLst>
                  <a:ext uri="{FF2B5EF4-FFF2-40B4-BE49-F238E27FC236}">
                    <a16:creationId xmlns:a16="http://schemas.microsoft.com/office/drawing/2014/main" id="{8A043486-F578-4381-A03B-270441791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3" name="Freeform 61">
                <a:extLst>
                  <a:ext uri="{FF2B5EF4-FFF2-40B4-BE49-F238E27FC236}">
                    <a16:creationId xmlns:a16="http://schemas.microsoft.com/office/drawing/2014/main" id="{DB126426-D577-464D-8294-302D9205E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4" name="Freeform 62">
                <a:extLst>
                  <a:ext uri="{FF2B5EF4-FFF2-40B4-BE49-F238E27FC236}">
                    <a16:creationId xmlns:a16="http://schemas.microsoft.com/office/drawing/2014/main" id="{06AACD2D-790D-4C3F-AD7A-1373DBF0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5" name="Freeform 63">
                <a:extLst>
                  <a:ext uri="{FF2B5EF4-FFF2-40B4-BE49-F238E27FC236}">
                    <a16:creationId xmlns:a16="http://schemas.microsoft.com/office/drawing/2014/main" id="{E1DF3A7E-282D-4404-A752-97CE6CAD0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6" name="Freeform 64">
                <a:extLst>
                  <a:ext uri="{FF2B5EF4-FFF2-40B4-BE49-F238E27FC236}">
                    <a16:creationId xmlns:a16="http://schemas.microsoft.com/office/drawing/2014/main" id="{FD4C4619-891E-48E0-B13E-48010789A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7" name="Freeform 65">
                <a:extLst>
                  <a:ext uri="{FF2B5EF4-FFF2-40B4-BE49-F238E27FC236}">
                    <a16:creationId xmlns:a16="http://schemas.microsoft.com/office/drawing/2014/main" id="{B4A81EFD-CB8B-45DF-8004-670BFAE4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8" name="Freeform 66">
                <a:extLst>
                  <a:ext uri="{FF2B5EF4-FFF2-40B4-BE49-F238E27FC236}">
                    <a16:creationId xmlns:a16="http://schemas.microsoft.com/office/drawing/2014/main" id="{F748E56A-02C0-49CE-AF7D-CFD77B5238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0098DF35-25A8-405E-A0C5-70F56DB54794}"/>
                </a:ext>
              </a:extLst>
            </p:cNvPr>
            <p:cNvGrpSpPr/>
            <p:nvPr userDrawn="1"/>
          </p:nvGrpSpPr>
          <p:grpSpPr>
            <a:xfrm>
              <a:off x="6509582" y="575413"/>
              <a:ext cx="234011" cy="329175"/>
              <a:chOff x="2370963" y="2220799"/>
              <a:chExt cx="581424" cy="817868"/>
            </a:xfrm>
            <a:solidFill>
              <a:srgbClr val="FFFFFF">
                <a:alpha val="26000"/>
              </a:srgbClr>
            </a:solidFill>
          </p:grpSpPr>
          <p:sp>
            <p:nvSpPr>
              <p:cNvPr id="311" name="Rectangle 58">
                <a:extLst>
                  <a:ext uri="{FF2B5EF4-FFF2-40B4-BE49-F238E27FC236}">
                    <a16:creationId xmlns:a16="http://schemas.microsoft.com/office/drawing/2014/main" id="{F1E19927-6C44-4316-8E16-0732B819B7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2" name="Freeform 59">
                <a:extLst>
                  <a:ext uri="{FF2B5EF4-FFF2-40B4-BE49-F238E27FC236}">
                    <a16:creationId xmlns:a16="http://schemas.microsoft.com/office/drawing/2014/main" id="{83CE7323-6032-48EE-8CA3-3D1DC2741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3" name="Freeform 60">
                <a:extLst>
                  <a:ext uri="{FF2B5EF4-FFF2-40B4-BE49-F238E27FC236}">
                    <a16:creationId xmlns:a16="http://schemas.microsoft.com/office/drawing/2014/main" id="{89095F0B-7AB9-4554-B8F9-935B1BAD4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4" name="Freeform 61">
                <a:extLst>
                  <a:ext uri="{FF2B5EF4-FFF2-40B4-BE49-F238E27FC236}">
                    <a16:creationId xmlns:a16="http://schemas.microsoft.com/office/drawing/2014/main" id="{D2CC33B1-8F4E-41DD-A1BA-F57EDE447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5" name="Freeform 62">
                <a:extLst>
                  <a:ext uri="{FF2B5EF4-FFF2-40B4-BE49-F238E27FC236}">
                    <a16:creationId xmlns:a16="http://schemas.microsoft.com/office/drawing/2014/main" id="{4443698B-EA6C-453A-91A8-D92481C1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6" name="Freeform 63">
                <a:extLst>
                  <a:ext uri="{FF2B5EF4-FFF2-40B4-BE49-F238E27FC236}">
                    <a16:creationId xmlns:a16="http://schemas.microsoft.com/office/drawing/2014/main" id="{E201FD75-85B7-4743-A3B1-3B148BC55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7" name="Freeform 64">
                <a:extLst>
                  <a:ext uri="{FF2B5EF4-FFF2-40B4-BE49-F238E27FC236}">
                    <a16:creationId xmlns:a16="http://schemas.microsoft.com/office/drawing/2014/main" id="{D66D4AE7-CD76-44E0-8BBD-3A2358EAE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8" name="Freeform 65">
                <a:extLst>
                  <a:ext uri="{FF2B5EF4-FFF2-40B4-BE49-F238E27FC236}">
                    <a16:creationId xmlns:a16="http://schemas.microsoft.com/office/drawing/2014/main" id="{36571A25-2AAB-4043-A59C-CF30710C2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9" name="Freeform 66">
                <a:extLst>
                  <a:ext uri="{FF2B5EF4-FFF2-40B4-BE49-F238E27FC236}">
                    <a16:creationId xmlns:a16="http://schemas.microsoft.com/office/drawing/2014/main" id="{3991C0A6-92BB-4DAA-BFE2-65DAF47EE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CB943D87-0094-4CE6-A058-9C9A9D650400}"/>
                </a:ext>
              </a:extLst>
            </p:cNvPr>
            <p:cNvGrpSpPr/>
            <p:nvPr userDrawn="1"/>
          </p:nvGrpSpPr>
          <p:grpSpPr>
            <a:xfrm>
              <a:off x="4075920" y="1374980"/>
              <a:ext cx="383372" cy="352926"/>
              <a:chOff x="2019301" y="4184651"/>
              <a:chExt cx="979488" cy="901700"/>
            </a:xfrm>
            <a:solidFill>
              <a:srgbClr val="FFFFFF">
                <a:alpha val="22000"/>
              </a:srgbClr>
            </a:solidFill>
          </p:grpSpPr>
          <p:sp>
            <p:nvSpPr>
              <p:cNvPr id="304" name="Freeform 152">
                <a:extLst>
                  <a:ext uri="{FF2B5EF4-FFF2-40B4-BE49-F238E27FC236}">
                    <a16:creationId xmlns:a16="http://schemas.microsoft.com/office/drawing/2014/main" id="{71F3BD7F-A264-4433-9792-1F507804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1" y="4256088"/>
                <a:ext cx="639763" cy="192088"/>
              </a:xfrm>
              <a:custGeom>
                <a:avLst/>
                <a:gdLst>
                  <a:gd name="T0" fmla="*/ 437 w 437"/>
                  <a:gd name="T1" fmla="*/ 0 h 132"/>
                  <a:gd name="T2" fmla="*/ 437 w 437"/>
                  <a:gd name="T3" fmla="*/ 132 h 132"/>
                  <a:gd name="T4" fmla="*/ 189 w 437"/>
                  <a:gd name="T5" fmla="*/ 132 h 132"/>
                  <a:gd name="T6" fmla="*/ 189 w 437"/>
                  <a:gd name="T7" fmla="*/ 36 h 132"/>
                  <a:gd name="T8" fmla="*/ 0 w 437"/>
                  <a:gd name="T9" fmla="*/ 36 h 132"/>
                  <a:gd name="T10" fmla="*/ 0 w 437"/>
                  <a:gd name="T11" fmla="*/ 21 h 132"/>
                  <a:gd name="T12" fmla="*/ 7 w 437"/>
                  <a:gd name="T13" fmla="*/ 2 h 132"/>
                  <a:gd name="T14" fmla="*/ 8 w 437"/>
                  <a:gd name="T15" fmla="*/ 0 h 132"/>
                  <a:gd name="T16" fmla="*/ 383 w 437"/>
                  <a:gd name="T17" fmla="*/ 0 h 132"/>
                  <a:gd name="T18" fmla="*/ 437 w 437"/>
                  <a:gd name="T1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7" h="132">
                    <a:moveTo>
                      <a:pt x="437" y="0"/>
                    </a:moveTo>
                    <a:cubicBezTo>
                      <a:pt x="437" y="132"/>
                      <a:pt x="437" y="132"/>
                      <a:pt x="437" y="132"/>
                    </a:cubicBezTo>
                    <a:cubicBezTo>
                      <a:pt x="189" y="132"/>
                      <a:pt x="189" y="132"/>
                      <a:pt x="189" y="132"/>
                    </a:cubicBezTo>
                    <a:cubicBezTo>
                      <a:pt x="189" y="36"/>
                      <a:pt x="189" y="36"/>
                      <a:pt x="189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1"/>
                      <a:pt x="0" y="26"/>
                      <a:pt x="0" y="21"/>
                    </a:cubicBezTo>
                    <a:cubicBezTo>
                      <a:pt x="0" y="14"/>
                      <a:pt x="4" y="6"/>
                      <a:pt x="7" y="2"/>
                    </a:cubicBezTo>
                    <a:cubicBezTo>
                      <a:pt x="7" y="1"/>
                      <a:pt x="8" y="0"/>
                      <a:pt x="8" y="0"/>
                    </a:cubicBezTo>
                    <a:cubicBezTo>
                      <a:pt x="383" y="0"/>
                      <a:pt x="383" y="0"/>
                      <a:pt x="383" y="0"/>
                    </a:cubicBezTo>
                    <a:lnTo>
                      <a:pt x="4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5" name="Freeform 153">
                <a:extLst>
                  <a:ext uri="{FF2B5EF4-FFF2-40B4-BE49-F238E27FC236}">
                    <a16:creationId xmlns:a16="http://schemas.microsoft.com/office/drawing/2014/main" id="{94EF63D5-7F81-4416-A057-9B6AB22AB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901" y="4535488"/>
                <a:ext cx="169863" cy="263525"/>
              </a:xfrm>
              <a:custGeom>
                <a:avLst/>
                <a:gdLst>
                  <a:gd name="T0" fmla="*/ 28 w 116"/>
                  <a:gd name="T1" fmla="*/ 9 h 180"/>
                  <a:gd name="T2" fmla="*/ 58 w 116"/>
                  <a:gd name="T3" fmla="*/ 0 h 180"/>
                  <a:gd name="T4" fmla="*/ 88 w 116"/>
                  <a:gd name="T5" fmla="*/ 9 h 180"/>
                  <a:gd name="T6" fmla="*/ 106 w 116"/>
                  <a:gd name="T7" fmla="*/ 35 h 180"/>
                  <a:gd name="T8" fmla="*/ 109 w 116"/>
                  <a:gd name="T9" fmla="*/ 50 h 180"/>
                  <a:gd name="T10" fmla="*/ 109 w 116"/>
                  <a:gd name="T11" fmla="*/ 70 h 180"/>
                  <a:gd name="T12" fmla="*/ 109 w 116"/>
                  <a:gd name="T13" fmla="*/ 109 h 180"/>
                  <a:gd name="T14" fmla="*/ 116 w 116"/>
                  <a:gd name="T15" fmla="*/ 114 h 180"/>
                  <a:gd name="T16" fmla="*/ 116 w 116"/>
                  <a:gd name="T17" fmla="*/ 153 h 180"/>
                  <a:gd name="T18" fmla="*/ 116 w 116"/>
                  <a:gd name="T19" fmla="*/ 154 h 180"/>
                  <a:gd name="T20" fmla="*/ 115 w 116"/>
                  <a:gd name="T21" fmla="*/ 155 h 180"/>
                  <a:gd name="T22" fmla="*/ 114 w 116"/>
                  <a:gd name="T23" fmla="*/ 158 h 180"/>
                  <a:gd name="T24" fmla="*/ 110 w 116"/>
                  <a:gd name="T25" fmla="*/ 163 h 180"/>
                  <a:gd name="T26" fmla="*/ 99 w 116"/>
                  <a:gd name="T27" fmla="*/ 170 h 180"/>
                  <a:gd name="T28" fmla="*/ 90 w 116"/>
                  <a:gd name="T29" fmla="*/ 173 h 180"/>
                  <a:gd name="T30" fmla="*/ 82 w 116"/>
                  <a:gd name="T31" fmla="*/ 170 h 180"/>
                  <a:gd name="T32" fmla="*/ 72 w 116"/>
                  <a:gd name="T33" fmla="*/ 170 h 180"/>
                  <a:gd name="T34" fmla="*/ 61 w 116"/>
                  <a:gd name="T35" fmla="*/ 180 h 180"/>
                  <a:gd name="T36" fmla="*/ 55 w 116"/>
                  <a:gd name="T37" fmla="*/ 180 h 180"/>
                  <a:gd name="T38" fmla="*/ 55 w 116"/>
                  <a:gd name="T39" fmla="*/ 180 h 180"/>
                  <a:gd name="T40" fmla="*/ 44 w 116"/>
                  <a:gd name="T41" fmla="*/ 169 h 180"/>
                  <a:gd name="T42" fmla="*/ 34 w 116"/>
                  <a:gd name="T43" fmla="*/ 169 h 180"/>
                  <a:gd name="T44" fmla="*/ 26 w 116"/>
                  <a:gd name="T45" fmla="*/ 173 h 180"/>
                  <a:gd name="T46" fmla="*/ 17 w 116"/>
                  <a:gd name="T47" fmla="*/ 170 h 180"/>
                  <a:gd name="T48" fmla="*/ 5 w 116"/>
                  <a:gd name="T49" fmla="*/ 163 h 180"/>
                  <a:gd name="T50" fmla="*/ 2 w 116"/>
                  <a:gd name="T51" fmla="*/ 158 h 180"/>
                  <a:gd name="T52" fmla="*/ 0 w 116"/>
                  <a:gd name="T53" fmla="*/ 155 h 180"/>
                  <a:gd name="T54" fmla="*/ 0 w 116"/>
                  <a:gd name="T55" fmla="*/ 154 h 180"/>
                  <a:gd name="T56" fmla="*/ 0 w 116"/>
                  <a:gd name="T57" fmla="*/ 153 h 180"/>
                  <a:gd name="T58" fmla="*/ 0 w 116"/>
                  <a:gd name="T59" fmla="*/ 114 h 180"/>
                  <a:gd name="T60" fmla="*/ 7 w 116"/>
                  <a:gd name="T61" fmla="*/ 109 h 180"/>
                  <a:gd name="T62" fmla="*/ 7 w 116"/>
                  <a:gd name="T63" fmla="*/ 70 h 180"/>
                  <a:gd name="T64" fmla="*/ 7 w 116"/>
                  <a:gd name="T65" fmla="*/ 50 h 180"/>
                  <a:gd name="T66" fmla="*/ 9 w 116"/>
                  <a:gd name="T67" fmla="*/ 35 h 180"/>
                  <a:gd name="T68" fmla="*/ 28 w 116"/>
                  <a:gd name="T69" fmla="*/ 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6" h="180">
                    <a:moveTo>
                      <a:pt x="28" y="9"/>
                    </a:moveTo>
                    <a:cubicBezTo>
                      <a:pt x="37" y="3"/>
                      <a:pt x="47" y="0"/>
                      <a:pt x="58" y="0"/>
                    </a:cubicBezTo>
                    <a:cubicBezTo>
                      <a:pt x="69" y="0"/>
                      <a:pt x="79" y="3"/>
                      <a:pt x="88" y="9"/>
                    </a:cubicBezTo>
                    <a:cubicBezTo>
                      <a:pt x="96" y="16"/>
                      <a:pt x="103" y="25"/>
                      <a:pt x="106" y="35"/>
                    </a:cubicBezTo>
                    <a:cubicBezTo>
                      <a:pt x="108" y="40"/>
                      <a:pt x="109" y="45"/>
                      <a:pt x="109" y="5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11"/>
                      <a:pt x="112" y="113"/>
                      <a:pt x="116" y="114"/>
                    </a:cubicBezTo>
                    <a:cubicBezTo>
                      <a:pt x="116" y="153"/>
                      <a:pt x="116" y="153"/>
                      <a:pt x="116" y="153"/>
                    </a:cubicBezTo>
                    <a:cubicBezTo>
                      <a:pt x="116" y="154"/>
                      <a:pt x="116" y="154"/>
                      <a:pt x="116" y="154"/>
                    </a:cubicBezTo>
                    <a:cubicBezTo>
                      <a:pt x="115" y="155"/>
                      <a:pt x="115" y="155"/>
                      <a:pt x="115" y="155"/>
                    </a:cubicBezTo>
                    <a:cubicBezTo>
                      <a:pt x="115" y="156"/>
                      <a:pt x="114" y="157"/>
                      <a:pt x="114" y="158"/>
                    </a:cubicBezTo>
                    <a:cubicBezTo>
                      <a:pt x="113" y="160"/>
                      <a:pt x="112" y="162"/>
                      <a:pt x="110" y="163"/>
                    </a:cubicBezTo>
                    <a:cubicBezTo>
                      <a:pt x="107" y="166"/>
                      <a:pt x="103" y="169"/>
                      <a:pt x="99" y="170"/>
                    </a:cubicBezTo>
                    <a:cubicBezTo>
                      <a:pt x="96" y="172"/>
                      <a:pt x="93" y="172"/>
                      <a:pt x="90" y="173"/>
                    </a:cubicBezTo>
                    <a:cubicBezTo>
                      <a:pt x="88" y="171"/>
                      <a:pt x="85" y="170"/>
                      <a:pt x="8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66" y="170"/>
                      <a:pt x="61" y="175"/>
                      <a:pt x="61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74"/>
                      <a:pt x="50" y="169"/>
                      <a:pt x="44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0" y="169"/>
                      <a:pt x="28" y="171"/>
                      <a:pt x="26" y="173"/>
                    </a:cubicBezTo>
                    <a:cubicBezTo>
                      <a:pt x="23" y="172"/>
                      <a:pt x="20" y="171"/>
                      <a:pt x="17" y="170"/>
                    </a:cubicBezTo>
                    <a:cubicBezTo>
                      <a:pt x="12" y="168"/>
                      <a:pt x="8" y="166"/>
                      <a:pt x="5" y="163"/>
                    </a:cubicBezTo>
                    <a:cubicBezTo>
                      <a:pt x="4" y="161"/>
                      <a:pt x="3" y="159"/>
                      <a:pt x="2" y="158"/>
                    </a:cubicBezTo>
                    <a:cubicBezTo>
                      <a:pt x="1" y="157"/>
                      <a:pt x="1" y="156"/>
                      <a:pt x="0" y="155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4" y="113"/>
                      <a:pt x="7" y="111"/>
                      <a:pt x="7" y="109"/>
                    </a:cubicBezTo>
                    <a:cubicBezTo>
                      <a:pt x="7" y="70"/>
                      <a:pt x="7" y="70"/>
                      <a:pt x="7" y="70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45"/>
                      <a:pt x="8" y="40"/>
                      <a:pt x="9" y="35"/>
                    </a:cubicBezTo>
                    <a:cubicBezTo>
                      <a:pt x="13" y="25"/>
                      <a:pt x="19" y="16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6" name="Freeform 154">
                <a:extLst>
                  <a:ext uri="{FF2B5EF4-FFF2-40B4-BE49-F238E27FC236}">
                    <a16:creationId xmlns:a16="http://schemas.microsoft.com/office/drawing/2014/main" id="{2645DF8B-4444-4424-B12C-87DFBC0BC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439" y="4184651"/>
                <a:ext cx="109538" cy="298450"/>
              </a:xfrm>
              <a:custGeom>
                <a:avLst/>
                <a:gdLst>
                  <a:gd name="T0" fmla="*/ 18 w 75"/>
                  <a:gd name="T1" fmla="*/ 7 h 203"/>
                  <a:gd name="T2" fmla="*/ 55 w 75"/>
                  <a:gd name="T3" fmla="*/ 6 h 203"/>
                  <a:gd name="T4" fmla="*/ 75 w 75"/>
                  <a:gd name="T5" fmla="*/ 37 h 203"/>
                  <a:gd name="T6" fmla="*/ 75 w 75"/>
                  <a:gd name="T7" fmla="*/ 70 h 203"/>
                  <a:gd name="T8" fmla="*/ 75 w 75"/>
                  <a:gd name="T9" fmla="*/ 203 h 203"/>
                  <a:gd name="T10" fmla="*/ 65 w 75"/>
                  <a:gd name="T11" fmla="*/ 203 h 203"/>
                  <a:gd name="T12" fmla="*/ 65 w 75"/>
                  <a:gd name="T13" fmla="*/ 70 h 203"/>
                  <a:gd name="T14" fmla="*/ 65 w 75"/>
                  <a:gd name="T15" fmla="*/ 37 h 203"/>
                  <a:gd name="T16" fmla="*/ 50 w 75"/>
                  <a:gd name="T17" fmla="*/ 15 h 203"/>
                  <a:gd name="T18" fmla="*/ 24 w 75"/>
                  <a:gd name="T19" fmla="*/ 16 h 203"/>
                  <a:gd name="T20" fmla="*/ 11 w 75"/>
                  <a:gd name="T21" fmla="*/ 39 h 203"/>
                  <a:gd name="T22" fmla="*/ 0 w 75"/>
                  <a:gd name="T23" fmla="*/ 39 h 203"/>
                  <a:gd name="T24" fmla="*/ 18 w 75"/>
                  <a:gd name="T25" fmla="*/ 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3">
                    <a:moveTo>
                      <a:pt x="18" y="7"/>
                    </a:moveTo>
                    <a:cubicBezTo>
                      <a:pt x="30" y="0"/>
                      <a:pt x="44" y="0"/>
                      <a:pt x="55" y="6"/>
                    </a:cubicBezTo>
                    <a:cubicBezTo>
                      <a:pt x="67" y="12"/>
                      <a:pt x="75" y="24"/>
                      <a:pt x="75" y="37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5" y="203"/>
                      <a:pt x="75" y="203"/>
                      <a:pt x="75" y="203"/>
                    </a:cubicBezTo>
                    <a:cubicBezTo>
                      <a:pt x="65" y="203"/>
                      <a:pt x="65" y="203"/>
                      <a:pt x="65" y="203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4" y="28"/>
                      <a:pt x="59" y="19"/>
                      <a:pt x="50" y="15"/>
                    </a:cubicBezTo>
                    <a:cubicBezTo>
                      <a:pt x="42" y="10"/>
                      <a:pt x="32" y="11"/>
                      <a:pt x="24" y="16"/>
                    </a:cubicBezTo>
                    <a:cubicBezTo>
                      <a:pt x="16" y="20"/>
                      <a:pt x="11" y="29"/>
                      <a:pt x="11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6"/>
                      <a:pt x="7" y="13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7" name="Rectangle 155">
                <a:extLst>
                  <a:ext uri="{FF2B5EF4-FFF2-40B4-BE49-F238E27FC236}">
                    <a16:creationId xmlns:a16="http://schemas.microsoft.com/office/drawing/2014/main" id="{A282E18B-9D56-42E8-9CE8-C1A47B3B8D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3851" y="4256088"/>
                <a:ext cx="82550" cy="1920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id="{CA3C51E7-D6B7-49B0-999B-8AA8D58F4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6926" y="4214813"/>
                <a:ext cx="327025" cy="449263"/>
              </a:xfrm>
              <a:custGeom>
                <a:avLst/>
                <a:gdLst>
                  <a:gd name="T0" fmla="*/ 91 w 224"/>
                  <a:gd name="T1" fmla="*/ 273 h 307"/>
                  <a:gd name="T2" fmla="*/ 62 w 224"/>
                  <a:gd name="T3" fmla="*/ 285 h 307"/>
                  <a:gd name="T4" fmla="*/ 34 w 224"/>
                  <a:gd name="T5" fmla="*/ 273 h 307"/>
                  <a:gd name="T6" fmla="*/ 22 w 224"/>
                  <a:gd name="T7" fmla="*/ 245 h 307"/>
                  <a:gd name="T8" fmla="*/ 34 w 224"/>
                  <a:gd name="T9" fmla="*/ 216 h 307"/>
                  <a:gd name="T10" fmla="*/ 57 w 224"/>
                  <a:gd name="T11" fmla="*/ 205 h 307"/>
                  <a:gd name="T12" fmla="*/ 57 w 224"/>
                  <a:gd name="T13" fmla="*/ 194 h 307"/>
                  <a:gd name="T14" fmla="*/ 27 w 224"/>
                  <a:gd name="T15" fmla="*/ 209 h 307"/>
                  <a:gd name="T16" fmla="*/ 12 w 224"/>
                  <a:gd name="T17" fmla="*/ 245 h 307"/>
                  <a:gd name="T18" fmla="*/ 27 w 224"/>
                  <a:gd name="T19" fmla="*/ 280 h 307"/>
                  <a:gd name="T20" fmla="*/ 62 w 224"/>
                  <a:gd name="T21" fmla="*/ 295 h 307"/>
                  <a:gd name="T22" fmla="*/ 98 w 224"/>
                  <a:gd name="T23" fmla="*/ 280 h 307"/>
                  <a:gd name="T24" fmla="*/ 113 w 224"/>
                  <a:gd name="T25" fmla="*/ 245 h 307"/>
                  <a:gd name="T26" fmla="*/ 98 w 224"/>
                  <a:gd name="T27" fmla="*/ 209 h 307"/>
                  <a:gd name="T28" fmla="*/ 68 w 224"/>
                  <a:gd name="T29" fmla="*/ 194 h 307"/>
                  <a:gd name="T30" fmla="*/ 68 w 224"/>
                  <a:gd name="T31" fmla="*/ 205 h 307"/>
                  <a:gd name="T32" fmla="*/ 91 w 224"/>
                  <a:gd name="T33" fmla="*/ 216 h 307"/>
                  <a:gd name="T34" fmla="*/ 103 w 224"/>
                  <a:gd name="T35" fmla="*/ 245 h 307"/>
                  <a:gd name="T36" fmla="*/ 91 w 224"/>
                  <a:gd name="T37" fmla="*/ 273 h 307"/>
                  <a:gd name="T38" fmla="*/ 61 w 224"/>
                  <a:gd name="T39" fmla="*/ 30 h 307"/>
                  <a:gd name="T40" fmla="*/ 79 w 224"/>
                  <a:gd name="T41" fmla="*/ 8 h 307"/>
                  <a:gd name="T42" fmla="*/ 103 w 224"/>
                  <a:gd name="T43" fmla="*/ 0 h 307"/>
                  <a:gd name="T44" fmla="*/ 103 w 224"/>
                  <a:gd name="T45" fmla="*/ 0 h 307"/>
                  <a:gd name="T46" fmla="*/ 107 w 224"/>
                  <a:gd name="T47" fmla="*/ 0 h 307"/>
                  <a:gd name="T48" fmla="*/ 107 w 224"/>
                  <a:gd name="T49" fmla="*/ 1 h 307"/>
                  <a:gd name="T50" fmla="*/ 224 w 224"/>
                  <a:gd name="T51" fmla="*/ 19 h 307"/>
                  <a:gd name="T52" fmla="*/ 150 w 224"/>
                  <a:gd name="T53" fmla="*/ 19 h 307"/>
                  <a:gd name="T54" fmla="*/ 103 w 224"/>
                  <a:gd name="T55" fmla="*/ 12 h 307"/>
                  <a:gd name="T56" fmla="*/ 75 w 224"/>
                  <a:gd name="T57" fmla="*/ 28 h 307"/>
                  <a:gd name="T58" fmla="*/ 71 w 224"/>
                  <a:gd name="T59" fmla="*/ 34 h 307"/>
                  <a:gd name="T60" fmla="*/ 68 w 224"/>
                  <a:gd name="T61" fmla="*/ 45 h 307"/>
                  <a:gd name="T62" fmla="*/ 68 w 224"/>
                  <a:gd name="T63" fmla="*/ 50 h 307"/>
                  <a:gd name="T64" fmla="*/ 68 w 224"/>
                  <a:gd name="T65" fmla="*/ 57 h 307"/>
                  <a:gd name="T66" fmla="*/ 68 w 224"/>
                  <a:gd name="T67" fmla="*/ 82 h 307"/>
                  <a:gd name="T68" fmla="*/ 68 w 224"/>
                  <a:gd name="T69" fmla="*/ 180 h 307"/>
                  <a:gd name="T70" fmla="*/ 68 w 224"/>
                  <a:gd name="T71" fmla="*/ 180 h 307"/>
                  <a:gd name="T72" fmla="*/ 68 w 224"/>
                  <a:gd name="T73" fmla="*/ 183 h 307"/>
                  <a:gd name="T74" fmla="*/ 86 w 224"/>
                  <a:gd name="T75" fmla="*/ 187 h 307"/>
                  <a:gd name="T76" fmla="*/ 106 w 224"/>
                  <a:gd name="T77" fmla="*/ 201 h 307"/>
                  <a:gd name="T78" fmla="*/ 120 w 224"/>
                  <a:gd name="T79" fmla="*/ 221 h 307"/>
                  <a:gd name="T80" fmla="*/ 124 w 224"/>
                  <a:gd name="T81" fmla="*/ 245 h 307"/>
                  <a:gd name="T82" fmla="*/ 120 w 224"/>
                  <a:gd name="T83" fmla="*/ 268 h 307"/>
                  <a:gd name="T84" fmla="*/ 106 w 224"/>
                  <a:gd name="T85" fmla="*/ 288 h 307"/>
                  <a:gd name="T86" fmla="*/ 86 w 224"/>
                  <a:gd name="T87" fmla="*/ 302 h 307"/>
                  <a:gd name="T88" fmla="*/ 62 w 224"/>
                  <a:gd name="T89" fmla="*/ 307 h 307"/>
                  <a:gd name="T90" fmla="*/ 39 w 224"/>
                  <a:gd name="T91" fmla="*/ 302 h 307"/>
                  <a:gd name="T92" fmla="*/ 18 w 224"/>
                  <a:gd name="T93" fmla="*/ 288 h 307"/>
                  <a:gd name="T94" fmla="*/ 5 w 224"/>
                  <a:gd name="T95" fmla="*/ 268 h 307"/>
                  <a:gd name="T96" fmla="*/ 0 w 224"/>
                  <a:gd name="T97" fmla="*/ 245 h 307"/>
                  <a:gd name="T98" fmla="*/ 5 w 224"/>
                  <a:gd name="T99" fmla="*/ 221 h 307"/>
                  <a:gd name="T100" fmla="*/ 18 w 224"/>
                  <a:gd name="T101" fmla="*/ 201 h 307"/>
                  <a:gd name="T102" fmla="*/ 39 w 224"/>
                  <a:gd name="T103" fmla="*/ 187 h 307"/>
                  <a:gd name="T104" fmla="*/ 57 w 224"/>
                  <a:gd name="T105" fmla="*/ 183 h 307"/>
                  <a:gd name="T106" fmla="*/ 57 w 224"/>
                  <a:gd name="T107" fmla="*/ 180 h 307"/>
                  <a:gd name="T108" fmla="*/ 57 w 224"/>
                  <a:gd name="T109" fmla="*/ 180 h 307"/>
                  <a:gd name="T110" fmla="*/ 57 w 224"/>
                  <a:gd name="T111" fmla="*/ 165 h 307"/>
                  <a:gd name="T112" fmla="*/ 57 w 224"/>
                  <a:gd name="T113" fmla="*/ 82 h 307"/>
                  <a:gd name="T114" fmla="*/ 57 w 224"/>
                  <a:gd name="T115" fmla="*/ 57 h 307"/>
                  <a:gd name="T116" fmla="*/ 57 w 224"/>
                  <a:gd name="T117" fmla="*/ 50 h 307"/>
                  <a:gd name="T118" fmla="*/ 57 w 224"/>
                  <a:gd name="T119" fmla="*/ 43 h 307"/>
                  <a:gd name="T120" fmla="*/ 61 w 224"/>
                  <a:gd name="T121" fmla="*/ 3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4" h="307">
                    <a:moveTo>
                      <a:pt x="91" y="273"/>
                    </a:moveTo>
                    <a:cubicBezTo>
                      <a:pt x="83" y="281"/>
                      <a:pt x="73" y="285"/>
                      <a:pt x="62" y="285"/>
                    </a:cubicBezTo>
                    <a:cubicBezTo>
                      <a:pt x="52" y="285"/>
                      <a:pt x="41" y="281"/>
                      <a:pt x="34" y="273"/>
                    </a:cubicBezTo>
                    <a:cubicBezTo>
                      <a:pt x="26" y="266"/>
                      <a:pt x="22" y="255"/>
                      <a:pt x="22" y="245"/>
                    </a:cubicBezTo>
                    <a:cubicBezTo>
                      <a:pt x="22" y="234"/>
                      <a:pt x="26" y="223"/>
                      <a:pt x="34" y="216"/>
                    </a:cubicBezTo>
                    <a:cubicBezTo>
                      <a:pt x="40" y="210"/>
                      <a:pt x="48" y="206"/>
                      <a:pt x="57" y="205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45" y="196"/>
                      <a:pt x="35" y="201"/>
                      <a:pt x="27" y="209"/>
                    </a:cubicBezTo>
                    <a:cubicBezTo>
                      <a:pt x="17" y="218"/>
                      <a:pt x="12" y="231"/>
                      <a:pt x="12" y="245"/>
                    </a:cubicBezTo>
                    <a:cubicBezTo>
                      <a:pt x="12" y="258"/>
                      <a:pt x="17" y="271"/>
                      <a:pt x="27" y="280"/>
                    </a:cubicBezTo>
                    <a:cubicBezTo>
                      <a:pt x="36" y="290"/>
                      <a:pt x="49" y="295"/>
                      <a:pt x="62" y="295"/>
                    </a:cubicBezTo>
                    <a:cubicBezTo>
                      <a:pt x="76" y="295"/>
                      <a:pt x="89" y="290"/>
                      <a:pt x="98" y="280"/>
                    </a:cubicBezTo>
                    <a:cubicBezTo>
                      <a:pt x="107" y="271"/>
                      <a:pt x="113" y="258"/>
                      <a:pt x="113" y="245"/>
                    </a:cubicBezTo>
                    <a:cubicBezTo>
                      <a:pt x="113" y="231"/>
                      <a:pt x="107" y="218"/>
                      <a:pt x="98" y="209"/>
                    </a:cubicBezTo>
                    <a:cubicBezTo>
                      <a:pt x="90" y="201"/>
                      <a:pt x="79" y="196"/>
                      <a:pt x="68" y="194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77" y="206"/>
                      <a:pt x="85" y="210"/>
                      <a:pt x="91" y="216"/>
                    </a:cubicBezTo>
                    <a:cubicBezTo>
                      <a:pt x="98" y="223"/>
                      <a:pt x="103" y="234"/>
                      <a:pt x="103" y="245"/>
                    </a:cubicBezTo>
                    <a:cubicBezTo>
                      <a:pt x="103" y="255"/>
                      <a:pt x="98" y="266"/>
                      <a:pt x="91" y="273"/>
                    </a:cubicBezTo>
                    <a:close/>
                    <a:moveTo>
                      <a:pt x="61" y="30"/>
                    </a:moveTo>
                    <a:cubicBezTo>
                      <a:pt x="65" y="21"/>
                      <a:pt x="71" y="13"/>
                      <a:pt x="79" y="8"/>
                    </a:cubicBezTo>
                    <a:cubicBezTo>
                      <a:pt x="86" y="3"/>
                      <a:pt x="95" y="1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4" y="0"/>
                      <a:pt x="105" y="0"/>
                      <a:pt x="107" y="0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224" y="19"/>
                      <a:pt x="224" y="19"/>
                      <a:pt x="22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03" y="12"/>
                      <a:pt x="103" y="12"/>
                      <a:pt x="103" y="12"/>
                    </a:cubicBezTo>
                    <a:cubicBezTo>
                      <a:pt x="92" y="13"/>
                      <a:pt x="82" y="19"/>
                      <a:pt x="75" y="28"/>
                    </a:cubicBezTo>
                    <a:cubicBezTo>
                      <a:pt x="74" y="30"/>
                      <a:pt x="72" y="32"/>
                      <a:pt x="71" y="34"/>
                    </a:cubicBezTo>
                    <a:cubicBezTo>
                      <a:pt x="70" y="38"/>
                      <a:pt x="69" y="41"/>
                      <a:pt x="68" y="45"/>
                    </a:cubicBezTo>
                    <a:cubicBezTo>
                      <a:pt x="68" y="47"/>
                      <a:pt x="68" y="48"/>
                      <a:pt x="68" y="50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3"/>
                      <a:pt x="68" y="183"/>
                      <a:pt x="68" y="183"/>
                    </a:cubicBezTo>
                    <a:cubicBezTo>
                      <a:pt x="74" y="183"/>
                      <a:pt x="80" y="185"/>
                      <a:pt x="86" y="187"/>
                    </a:cubicBezTo>
                    <a:cubicBezTo>
                      <a:pt x="94" y="190"/>
                      <a:pt x="100" y="195"/>
                      <a:pt x="106" y="201"/>
                    </a:cubicBezTo>
                    <a:cubicBezTo>
                      <a:pt x="112" y="206"/>
                      <a:pt x="117" y="213"/>
                      <a:pt x="120" y="221"/>
                    </a:cubicBezTo>
                    <a:cubicBezTo>
                      <a:pt x="123" y="228"/>
                      <a:pt x="124" y="236"/>
                      <a:pt x="124" y="245"/>
                    </a:cubicBezTo>
                    <a:cubicBezTo>
                      <a:pt x="124" y="253"/>
                      <a:pt x="123" y="261"/>
                      <a:pt x="120" y="268"/>
                    </a:cubicBezTo>
                    <a:cubicBezTo>
                      <a:pt x="117" y="276"/>
                      <a:pt x="112" y="283"/>
                      <a:pt x="106" y="288"/>
                    </a:cubicBezTo>
                    <a:cubicBezTo>
                      <a:pt x="100" y="294"/>
                      <a:pt x="94" y="299"/>
                      <a:pt x="86" y="302"/>
                    </a:cubicBezTo>
                    <a:cubicBezTo>
                      <a:pt x="79" y="305"/>
                      <a:pt x="70" y="307"/>
                      <a:pt x="62" y="307"/>
                    </a:cubicBezTo>
                    <a:cubicBezTo>
                      <a:pt x="54" y="307"/>
                      <a:pt x="46" y="305"/>
                      <a:pt x="39" y="302"/>
                    </a:cubicBezTo>
                    <a:cubicBezTo>
                      <a:pt x="31" y="299"/>
                      <a:pt x="24" y="294"/>
                      <a:pt x="18" y="288"/>
                    </a:cubicBezTo>
                    <a:cubicBezTo>
                      <a:pt x="13" y="283"/>
                      <a:pt x="8" y="276"/>
                      <a:pt x="5" y="268"/>
                    </a:cubicBezTo>
                    <a:cubicBezTo>
                      <a:pt x="2" y="261"/>
                      <a:pt x="0" y="253"/>
                      <a:pt x="0" y="245"/>
                    </a:cubicBezTo>
                    <a:cubicBezTo>
                      <a:pt x="0" y="236"/>
                      <a:pt x="2" y="228"/>
                      <a:pt x="5" y="221"/>
                    </a:cubicBezTo>
                    <a:cubicBezTo>
                      <a:pt x="8" y="213"/>
                      <a:pt x="13" y="206"/>
                      <a:pt x="18" y="201"/>
                    </a:cubicBezTo>
                    <a:cubicBezTo>
                      <a:pt x="24" y="195"/>
                      <a:pt x="31" y="190"/>
                      <a:pt x="39" y="187"/>
                    </a:cubicBezTo>
                    <a:cubicBezTo>
                      <a:pt x="44" y="185"/>
                      <a:pt x="50" y="183"/>
                      <a:pt x="57" y="183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65"/>
                      <a:pt x="57" y="165"/>
                      <a:pt x="57" y="165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7" y="48"/>
                      <a:pt x="57" y="46"/>
                      <a:pt x="57" y="43"/>
                    </a:cubicBezTo>
                    <a:cubicBezTo>
                      <a:pt x="58" y="39"/>
                      <a:pt x="59" y="34"/>
                      <a:pt x="61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9" name="Freeform 157">
                <a:extLst>
                  <a:ext uri="{FF2B5EF4-FFF2-40B4-BE49-F238E27FC236}">
                    <a16:creationId xmlns:a16="http://schemas.microsoft.com/office/drawing/2014/main" id="{FA7D1D1A-5C25-40A6-913D-485F64812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9301" y="4346576"/>
                <a:ext cx="979488" cy="739775"/>
              </a:xfrm>
              <a:custGeom>
                <a:avLst/>
                <a:gdLst>
                  <a:gd name="T0" fmla="*/ 302 w 670"/>
                  <a:gd name="T1" fmla="*/ 247 h 506"/>
                  <a:gd name="T2" fmla="*/ 226 w 670"/>
                  <a:gd name="T3" fmla="*/ 314 h 506"/>
                  <a:gd name="T4" fmla="*/ 302 w 670"/>
                  <a:gd name="T5" fmla="*/ 389 h 506"/>
                  <a:gd name="T6" fmla="*/ 369 w 670"/>
                  <a:gd name="T7" fmla="*/ 314 h 506"/>
                  <a:gd name="T8" fmla="*/ 444 w 670"/>
                  <a:gd name="T9" fmla="*/ 247 h 506"/>
                  <a:gd name="T10" fmla="*/ 369 w 670"/>
                  <a:gd name="T11" fmla="*/ 172 h 506"/>
                  <a:gd name="T12" fmla="*/ 271 w 670"/>
                  <a:gd name="T13" fmla="*/ 99 h 506"/>
                  <a:gd name="T14" fmla="*/ 557 w 670"/>
                  <a:gd name="T15" fmla="*/ 105 h 506"/>
                  <a:gd name="T16" fmla="*/ 518 w 670"/>
                  <a:gd name="T17" fmla="*/ 119 h 506"/>
                  <a:gd name="T18" fmla="*/ 487 w 670"/>
                  <a:gd name="T19" fmla="*/ 179 h 506"/>
                  <a:gd name="T20" fmla="*/ 487 w 670"/>
                  <a:gd name="T21" fmla="*/ 238 h 506"/>
                  <a:gd name="T22" fmla="*/ 493 w 670"/>
                  <a:gd name="T23" fmla="*/ 282 h 506"/>
                  <a:gd name="T24" fmla="*/ 494 w 670"/>
                  <a:gd name="T25" fmla="*/ 285 h 506"/>
                  <a:gd name="T26" fmla="*/ 496 w 670"/>
                  <a:gd name="T27" fmla="*/ 292 h 506"/>
                  <a:gd name="T28" fmla="*/ 517 w 670"/>
                  <a:gd name="T29" fmla="*/ 309 h 506"/>
                  <a:gd name="T30" fmla="*/ 538 w 670"/>
                  <a:gd name="T31" fmla="*/ 319 h 506"/>
                  <a:gd name="T32" fmla="*/ 559 w 670"/>
                  <a:gd name="T33" fmla="*/ 309 h 506"/>
                  <a:gd name="T34" fmla="*/ 576 w 670"/>
                  <a:gd name="T35" fmla="*/ 320 h 506"/>
                  <a:gd name="T36" fmla="*/ 596 w 670"/>
                  <a:gd name="T37" fmla="*/ 313 h 506"/>
                  <a:gd name="T38" fmla="*/ 622 w 670"/>
                  <a:gd name="T39" fmla="*/ 300 h 506"/>
                  <a:gd name="T40" fmla="*/ 629 w 670"/>
                  <a:gd name="T41" fmla="*/ 288 h 506"/>
                  <a:gd name="T42" fmla="*/ 630 w 670"/>
                  <a:gd name="T43" fmla="*/ 284 h 506"/>
                  <a:gd name="T44" fmla="*/ 630 w 670"/>
                  <a:gd name="T45" fmla="*/ 243 h 506"/>
                  <a:gd name="T46" fmla="*/ 637 w 670"/>
                  <a:gd name="T47" fmla="*/ 199 h 506"/>
                  <a:gd name="T48" fmla="*/ 633 w 670"/>
                  <a:gd name="T49" fmla="*/ 156 h 506"/>
                  <a:gd name="T50" fmla="*/ 570 w 670"/>
                  <a:gd name="T51" fmla="*/ 105 h 506"/>
                  <a:gd name="T52" fmla="*/ 567 w 670"/>
                  <a:gd name="T53" fmla="*/ 99 h 506"/>
                  <a:gd name="T54" fmla="*/ 670 w 670"/>
                  <a:gd name="T55" fmla="*/ 506 h 506"/>
                  <a:gd name="T56" fmla="*/ 0 w 670"/>
                  <a:gd name="T57" fmla="*/ 0 h 506"/>
                  <a:gd name="T58" fmla="*/ 77 w 670"/>
                  <a:gd name="T59" fmla="*/ 75 h 506"/>
                  <a:gd name="T60" fmla="*/ 95 w 670"/>
                  <a:gd name="T61" fmla="*/ 233 h 506"/>
                  <a:gd name="T62" fmla="*/ 113 w 670"/>
                  <a:gd name="T63" fmla="*/ 75 h 506"/>
                  <a:gd name="T64" fmla="*/ 271 w 670"/>
                  <a:gd name="T65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0" h="506">
                    <a:moveTo>
                      <a:pt x="302" y="172"/>
                    </a:moveTo>
                    <a:cubicBezTo>
                      <a:pt x="302" y="247"/>
                      <a:pt x="302" y="247"/>
                      <a:pt x="302" y="247"/>
                    </a:cubicBezTo>
                    <a:cubicBezTo>
                      <a:pt x="226" y="247"/>
                      <a:pt x="226" y="247"/>
                      <a:pt x="226" y="247"/>
                    </a:cubicBezTo>
                    <a:cubicBezTo>
                      <a:pt x="226" y="314"/>
                      <a:pt x="226" y="314"/>
                      <a:pt x="226" y="314"/>
                    </a:cubicBezTo>
                    <a:cubicBezTo>
                      <a:pt x="302" y="314"/>
                      <a:pt x="302" y="314"/>
                      <a:pt x="302" y="314"/>
                    </a:cubicBezTo>
                    <a:cubicBezTo>
                      <a:pt x="302" y="389"/>
                      <a:pt x="302" y="389"/>
                      <a:pt x="302" y="389"/>
                    </a:cubicBezTo>
                    <a:cubicBezTo>
                      <a:pt x="369" y="389"/>
                      <a:pt x="369" y="389"/>
                      <a:pt x="369" y="389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444" y="314"/>
                      <a:pt x="444" y="314"/>
                      <a:pt x="444" y="314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369" y="247"/>
                      <a:pt x="369" y="247"/>
                      <a:pt x="369" y="247"/>
                    </a:cubicBezTo>
                    <a:cubicBezTo>
                      <a:pt x="369" y="172"/>
                      <a:pt x="369" y="172"/>
                      <a:pt x="369" y="172"/>
                    </a:cubicBezTo>
                    <a:lnTo>
                      <a:pt x="302" y="172"/>
                    </a:lnTo>
                    <a:close/>
                    <a:moveTo>
                      <a:pt x="271" y="99"/>
                    </a:moveTo>
                    <a:cubicBezTo>
                      <a:pt x="557" y="99"/>
                      <a:pt x="557" y="99"/>
                      <a:pt x="557" y="99"/>
                    </a:cubicBezTo>
                    <a:cubicBezTo>
                      <a:pt x="557" y="105"/>
                      <a:pt x="557" y="105"/>
                      <a:pt x="557" y="105"/>
                    </a:cubicBezTo>
                    <a:cubicBezTo>
                      <a:pt x="554" y="105"/>
                      <a:pt x="554" y="105"/>
                      <a:pt x="554" y="105"/>
                    </a:cubicBezTo>
                    <a:cubicBezTo>
                      <a:pt x="541" y="106"/>
                      <a:pt x="528" y="111"/>
                      <a:pt x="518" y="119"/>
                    </a:cubicBezTo>
                    <a:cubicBezTo>
                      <a:pt x="505" y="128"/>
                      <a:pt x="495" y="141"/>
                      <a:pt x="490" y="156"/>
                    </a:cubicBezTo>
                    <a:cubicBezTo>
                      <a:pt x="488" y="163"/>
                      <a:pt x="487" y="171"/>
                      <a:pt x="487" y="179"/>
                    </a:cubicBezTo>
                    <a:cubicBezTo>
                      <a:pt x="487" y="199"/>
                      <a:pt x="487" y="199"/>
                      <a:pt x="487" y="199"/>
                    </a:cubicBezTo>
                    <a:cubicBezTo>
                      <a:pt x="487" y="238"/>
                      <a:pt x="487" y="238"/>
                      <a:pt x="487" y="238"/>
                    </a:cubicBezTo>
                    <a:cubicBezTo>
                      <a:pt x="487" y="240"/>
                      <a:pt x="489" y="242"/>
                      <a:pt x="493" y="243"/>
                    </a:cubicBezTo>
                    <a:cubicBezTo>
                      <a:pt x="493" y="282"/>
                      <a:pt x="493" y="282"/>
                      <a:pt x="493" y="282"/>
                    </a:cubicBezTo>
                    <a:cubicBezTo>
                      <a:pt x="493" y="283"/>
                      <a:pt x="493" y="283"/>
                      <a:pt x="494" y="284"/>
                    </a:cubicBezTo>
                    <a:cubicBezTo>
                      <a:pt x="494" y="284"/>
                      <a:pt x="494" y="285"/>
                      <a:pt x="494" y="285"/>
                    </a:cubicBezTo>
                    <a:cubicBezTo>
                      <a:pt x="494" y="286"/>
                      <a:pt x="494" y="287"/>
                      <a:pt x="494" y="287"/>
                    </a:cubicBezTo>
                    <a:cubicBezTo>
                      <a:pt x="495" y="289"/>
                      <a:pt x="496" y="290"/>
                      <a:pt x="496" y="292"/>
                    </a:cubicBezTo>
                    <a:cubicBezTo>
                      <a:pt x="498" y="294"/>
                      <a:pt x="500" y="297"/>
                      <a:pt x="502" y="299"/>
                    </a:cubicBezTo>
                    <a:cubicBezTo>
                      <a:pt x="506" y="303"/>
                      <a:pt x="511" y="306"/>
                      <a:pt x="517" y="309"/>
                    </a:cubicBezTo>
                    <a:cubicBezTo>
                      <a:pt x="520" y="310"/>
                      <a:pt x="524" y="311"/>
                      <a:pt x="528" y="312"/>
                    </a:cubicBezTo>
                    <a:cubicBezTo>
                      <a:pt x="529" y="316"/>
                      <a:pt x="533" y="319"/>
                      <a:pt x="538" y="319"/>
                    </a:cubicBezTo>
                    <a:cubicBezTo>
                      <a:pt x="548" y="319"/>
                      <a:pt x="548" y="319"/>
                      <a:pt x="548" y="319"/>
                    </a:cubicBezTo>
                    <a:cubicBezTo>
                      <a:pt x="554" y="319"/>
                      <a:pt x="558" y="315"/>
                      <a:pt x="559" y="309"/>
                    </a:cubicBezTo>
                    <a:cubicBezTo>
                      <a:pt x="565" y="309"/>
                      <a:pt x="565" y="309"/>
                      <a:pt x="565" y="309"/>
                    </a:cubicBezTo>
                    <a:cubicBezTo>
                      <a:pt x="565" y="315"/>
                      <a:pt x="570" y="320"/>
                      <a:pt x="576" y="320"/>
                    </a:cubicBezTo>
                    <a:cubicBezTo>
                      <a:pt x="586" y="320"/>
                      <a:pt x="586" y="320"/>
                      <a:pt x="586" y="320"/>
                    </a:cubicBezTo>
                    <a:cubicBezTo>
                      <a:pt x="591" y="320"/>
                      <a:pt x="595" y="317"/>
                      <a:pt x="596" y="313"/>
                    </a:cubicBezTo>
                    <a:cubicBezTo>
                      <a:pt x="600" y="312"/>
                      <a:pt x="603" y="311"/>
                      <a:pt x="607" y="309"/>
                    </a:cubicBezTo>
                    <a:cubicBezTo>
                      <a:pt x="612" y="307"/>
                      <a:pt x="617" y="304"/>
                      <a:pt x="622" y="300"/>
                    </a:cubicBezTo>
                    <a:cubicBezTo>
                      <a:pt x="624" y="297"/>
                      <a:pt x="626" y="295"/>
                      <a:pt x="627" y="292"/>
                    </a:cubicBezTo>
                    <a:cubicBezTo>
                      <a:pt x="628" y="291"/>
                      <a:pt x="629" y="290"/>
                      <a:pt x="629" y="288"/>
                    </a:cubicBezTo>
                    <a:cubicBezTo>
                      <a:pt x="629" y="287"/>
                      <a:pt x="630" y="286"/>
                      <a:pt x="630" y="286"/>
                    </a:cubicBezTo>
                    <a:cubicBezTo>
                      <a:pt x="630" y="285"/>
                      <a:pt x="630" y="285"/>
                      <a:pt x="630" y="284"/>
                    </a:cubicBezTo>
                    <a:cubicBezTo>
                      <a:pt x="630" y="284"/>
                      <a:pt x="630" y="283"/>
                      <a:pt x="630" y="282"/>
                    </a:cubicBezTo>
                    <a:cubicBezTo>
                      <a:pt x="630" y="243"/>
                      <a:pt x="630" y="243"/>
                      <a:pt x="630" y="243"/>
                    </a:cubicBezTo>
                    <a:cubicBezTo>
                      <a:pt x="634" y="242"/>
                      <a:pt x="637" y="240"/>
                      <a:pt x="637" y="238"/>
                    </a:cubicBezTo>
                    <a:cubicBezTo>
                      <a:pt x="637" y="199"/>
                      <a:pt x="637" y="199"/>
                      <a:pt x="637" y="199"/>
                    </a:cubicBezTo>
                    <a:cubicBezTo>
                      <a:pt x="637" y="179"/>
                      <a:pt x="637" y="179"/>
                      <a:pt x="637" y="179"/>
                    </a:cubicBezTo>
                    <a:cubicBezTo>
                      <a:pt x="637" y="171"/>
                      <a:pt x="636" y="163"/>
                      <a:pt x="633" y="156"/>
                    </a:cubicBezTo>
                    <a:cubicBezTo>
                      <a:pt x="628" y="141"/>
                      <a:pt x="618" y="128"/>
                      <a:pt x="606" y="119"/>
                    </a:cubicBezTo>
                    <a:cubicBezTo>
                      <a:pt x="595" y="111"/>
                      <a:pt x="583" y="106"/>
                      <a:pt x="570" y="105"/>
                    </a:cubicBezTo>
                    <a:cubicBezTo>
                      <a:pt x="567" y="105"/>
                      <a:pt x="567" y="105"/>
                      <a:pt x="567" y="105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670" y="99"/>
                      <a:pt x="670" y="99"/>
                      <a:pt x="670" y="99"/>
                    </a:cubicBezTo>
                    <a:cubicBezTo>
                      <a:pt x="670" y="506"/>
                      <a:pt x="670" y="506"/>
                      <a:pt x="670" y="506"/>
                    </a:cubicBezTo>
                    <a:cubicBezTo>
                      <a:pt x="0" y="506"/>
                      <a:pt x="0" y="506"/>
                      <a:pt x="0" y="50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75"/>
                      <a:pt x="77" y="75"/>
                      <a:pt x="77" y="75"/>
                    </a:cubicBezTo>
                    <a:cubicBezTo>
                      <a:pt x="42" y="83"/>
                      <a:pt x="15" y="115"/>
                      <a:pt x="15" y="153"/>
                    </a:cubicBezTo>
                    <a:cubicBezTo>
                      <a:pt x="15" y="197"/>
                      <a:pt x="51" y="233"/>
                      <a:pt x="95" y="233"/>
                    </a:cubicBezTo>
                    <a:cubicBezTo>
                      <a:pt x="139" y="233"/>
                      <a:pt x="175" y="197"/>
                      <a:pt x="175" y="153"/>
                    </a:cubicBezTo>
                    <a:cubicBezTo>
                      <a:pt x="175" y="115"/>
                      <a:pt x="149" y="83"/>
                      <a:pt x="113" y="75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271" y="0"/>
                      <a:pt x="271" y="0"/>
                      <a:pt x="271" y="0"/>
                    </a:cubicBezTo>
                    <a:lnTo>
                      <a:pt x="27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0" name="Freeform 158">
                <a:extLst>
                  <a:ext uri="{FF2B5EF4-FFF2-40B4-BE49-F238E27FC236}">
                    <a16:creationId xmlns:a16="http://schemas.microsoft.com/office/drawing/2014/main" id="{E2D84283-A7D8-4B46-8286-A4B4BB3CD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276" y="4256088"/>
                <a:ext cx="68263" cy="52388"/>
              </a:xfrm>
              <a:custGeom>
                <a:avLst/>
                <a:gdLst>
                  <a:gd name="T0" fmla="*/ 0 w 46"/>
                  <a:gd name="T1" fmla="*/ 0 h 36"/>
                  <a:gd name="T2" fmla="*/ 46 w 46"/>
                  <a:gd name="T3" fmla="*/ 0 h 36"/>
                  <a:gd name="T4" fmla="*/ 42 w 46"/>
                  <a:gd name="T5" fmla="*/ 15 h 36"/>
                  <a:gd name="T6" fmla="*/ 42 w 46"/>
                  <a:gd name="T7" fmla="*/ 36 h 36"/>
                  <a:gd name="T8" fmla="*/ 0 w 46"/>
                  <a:gd name="T9" fmla="*/ 36 h 36"/>
                  <a:gd name="T10" fmla="*/ 0 w 46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36">
                    <a:moveTo>
                      <a:pt x="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4" y="4"/>
                      <a:pt x="42" y="10"/>
                      <a:pt x="42" y="15"/>
                    </a:cubicBezTo>
                    <a:cubicBezTo>
                      <a:pt x="42" y="21"/>
                      <a:pt x="42" y="30"/>
                      <a:pt x="42" y="36"/>
                    </a:cubicBezTo>
                    <a:cubicBezTo>
                      <a:pt x="0" y="36"/>
                      <a:pt x="0" y="36"/>
                      <a:pt x="0" y="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8" name="Group 40">
              <a:extLst>
                <a:ext uri="{FF2B5EF4-FFF2-40B4-BE49-F238E27FC236}">
                  <a16:creationId xmlns:a16="http://schemas.microsoft.com/office/drawing/2014/main" id="{CE74D16A-6EE2-4ECE-BCC5-1189E3EB7C4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306384" y="2099921"/>
              <a:ext cx="269552" cy="378776"/>
              <a:chOff x="1798" y="107"/>
              <a:chExt cx="2152" cy="3024"/>
            </a:xfrm>
            <a:solidFill>
              <a:srgbClr val="FFFFFF">
                <a:alpha val="28000"/>
              </a:srgbClr>
            </a:solidFill>
          </p:grpSpPr>
          <p:sp>
            <p:nvSpPr>
              <p:cNvPr id="300" name="Freeform 41">
                <a:extLst>
                  <a:ext uri="{FF2B5EF4-FFF2-40B4-BE49-F238E27FC236}">
                    <a16:creationId xmlns:a16="http://schemas.microsoft.com/office/drawing/2014/main" id="{21CF14CD-E2EF-4E67-BE02-227CBDEC3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8" y="443"/>
                <a:ext cx="2152" cy="2688"/>
              </a:xfrm>
              <a:custGeom>
                <a:avLst/>
                <a:gdLst>
                  <a:gd name="T0" fmla="*/ 462 w 1432"/>
                  <a:gd name="T1" fmla="*/ 191 h 1792"/>
                  <a:gd name="T2" fmla="*/ 427 w 1432"/>
                  <a:gd name="T3" fmla="*/ 191 h 1792"/>
                  <a:gd name="T4" fmla="*/ 337 w 1432"/>
                  <a:gd name="T5" fmla="*/ 95 h 1792"/>
                  <a:gd name="T6" fmla="*/ 429 w 1432"/>
                  <a:gd name="T7" fmla="*/ 0 h 1792"/>
                  <a:gd name="T8" fmla="*/ 947 w 1432"/>
                  <a:gd name="T9" fmla="*/ 0 h 1792"/>
                  <a:gd name="T10" fmla="*/ 1040 w 1432"/>
                  <a:gd name="T11" fmla="*/ 94 h 1792"/>
                  <a:gd name="T12" fmla="*/ 949 w 1432"/>
                  <a:gd name="T13" fmla="*/ 191 h 1792"/>
                  <a:gd name="T14" fmla="*/ 910 w 1432"/>
                  <a:gd name="T15" fmla="*/ 191 h 1792"/>
                  <a:gd name="T16" fmla="*/ 909 w 1432"/>
                  <a:gd name="T17" fmla="*/ 214 h 1792"/>
                  <a:gd name="T18" fmla="*/ 910 w 1432"/>
                  <a:gd name="T19" fmla="*/ 678 h 1792"/>
                  <a:gd name="T20" fmla="*/ 920 w 1432"/>
                  <a:gd name="T21" fmla="*/ 713 h 1792"/>
                  <a:gd name="T22" fmla="*/ 1404 w 1432"/>
                  <a:gd name="T23" fmla="*/ 1527 h 1792"/>
                  <a:gd name="T24" fmla="*/ 1419 w 1432"/>
                  <a:gd name="T25" fmla="*/ 1659 h 1792"/>
                  <a:gd name="T26" fmla="*/ 1307 w 1432"/>
                  <a:gd name="T27" fmla="*/ 1783 h 1792"/>
                  <a:gd name="T28" fmla="*/ 1266 w 1432"/>
                  <a:gd name="T29" fmla="*/ 1791 h 1792"/>
                  <a:gd name="T30" fmla="*/ 192 w 1432"/>
                  <a:gd name="T31" fmla="*/ 1792 h 1792"/>
                  <a:gd name="T32" fmla="*/ 53 w 1432"/>
                  <a:gd name="T33" fmla="*/ 1721 h 1792"/>
                  <a:gd name="T34" fmla="*/ 36 w 1432"/>
                  <a:gd name="T35" fmla="*/ 1526 h 1792"/>
                  <a:gd name="T36" fmla="*/ 456 w 1432"/>
                  <a:gd name="T37" fmla="*/ 709 h 1792"/>
                  <a:gd name="T38" fmla="*/ 462 w 1432"/>
                  <a:gd name="T39" fmla="*/ 684 h 1792"/>
                  <a:gd name="T40" fmla="*/ 464 w 1432"/>
                  <a:gd name="T41" fmla="*/ 204 h 1792"/>
                  <a:gd name="T42" fmla="*/ 462 w 1432"/>
                  <a:gd name="T43" fmla="*/ 191 h 1792"/>
                  <a:gd name="T44" fmla="*/ 528 w 1432"/>
                  <a:gd name="T45" fmla="*/ 128 h 1792"/>
                  <a:gd name="T46" fmla="*/ 528 w 1432"/>
                  <a:gd name="T47" fmla="*/ 155 h 1792"/>
                  <a:gd name="T48" fmla="*/ 527 w 1432"/>
                  <a:gd name="T49" fmla="*/ 677 h 1792"/>
                  <a:gd name="T50" fmla="*/ 518 w 1432"/>
                  <a:gd name="T51" fmla="*/ 715 h 1792"/>
                  <a:gd name="T52" fmla="*/ 88 w 1432"/>
                  <a:gd name="T53" fmla="*/ 1558 h 1792"/>
                  <a:gd name="T54" fmla="*/ 191 w 1432"/>
                  <a:gd name="T55" fmla="*/ 1727 h 1792"/>
                  <a:gd name="T56" fmla="*/ 1251 w 1432"/>
                  <a:gd name="T57" fmla="*/ 1727 h 1792"/>
                  <a:gd name="T58" fmla="*/ 1344 w 1432"/>
                  <a:gd name="T59" fmla="*/ 1668 h 1792"/>
                  <a:gd name="T60" fmla="*/ 1350 w 1432"/>
                  <a:gd name="T61" fmla="*/ 1556 h 1792"/>
                  <a:gd name="T62" fmla="*/ 871 w 1432"/>
                  <a:gd name="T63" fmla="*/ 733 h 1792"/>
                  <a:gd name="T64" fmla="*/ 849 w 1432"/>
                  <a:gd name="T65" fmla="*/ 652 h 1792"/>
                  <a:gd name="T66" fmla="*/ 849 w 1432"/>
                  <a:gd name="T67" fmla="*/ 148 h 1792"/>
                  <a:gd name="T68" fmla="*/ 849 w 1432"/>
                  <a:gd name="T69" fmla="*/ 128 h 1792"/>
                  <a:gd name="T70" fmla="*/ 946 w 1432"/>
                  <a:gd name="T71" fmla="*/ 127 h 1792"/>
                  <a:gd name="T72" fmla="*/ 976 w 1432"/>
                  <a:gd name="T73" fmla="*/ 97 h 1792"/>
                  <a:gd name="T74" fmla="*/ 945 w 1432"/>
                  <a:gd name="T75" fmla="*/ 64 h 1792"/>
                  <a:gd name="T76" fmla="*/ 933 w 1432"/>
                  <a:gd name="T77" fmla="*/ 64 h 1792"/>
                  <a:gd name="T78" fmla="*/ 445 w 1432"/>
                  <a:gd name="T79" fmla="*/ 64 h 1792"/>
                  <a:gd name="T80" fmla="*/ 427 w 1432"/>
                  <a:gd name="T81" fmla="*/ 65 h 1792"/>
                  <a:gd name="T82" fmla="*/ 403 w 1432"/>
                  <a:gd name="T83" fmla="*/ 106 h 1792"/>
                  <a:gd name="T84" fmla="*/ 437 w 1432"/>
                  <a:gd name="T85" fmla="*/ 128 h 1792"/>
                  <a:gd name="T86" fmla="*/ 528 w 1432"/>
                  <a:gd name="T87" fmla="*/ 128 h 1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2" h="1792">
                    <a:moveTo>
                      <a:pt x="462" y="191"/>
                    </a:moveTo>
                    <a:cubicBezTo>
                      <a:pt x="449" y="191"/>
                      <a:pt x="438" y="192"/>
                      <a:pt x="427" y="191"/>
                    </a:cubicBezTo>
                    <a:cubicBezTo>
                      <a:pt x="376" y="188"/>
                      <a:pt x="336" y="145"/>
                      <a:pt x="337" y="95"/>
                    </a:cubicBezTo>
                    <a:cubicBezTo>
                      <a:pt x="337" y="44"/>
                      <a:pt x="378" y="1"/>
                      <a:pt x="429" y="0"/>
                    </a:cubicBezTo>
                    <a:cubicBezTo>
                      <a:pt x="602" y="0"/>
                      <a:pt x="774" y="0"/>
                      <a:pt x="947" y="0"/>
                    </a:cubicBezTo>
                    <a:cubicBezTo>
                      <a:pt x="998" y="1"/>
                      <a:pt x="1039" y="44"/>
                      <a:pt x="1040" y="94"/>
                    </a:cubicBezTo>
                    <a:cubicBezTo>
                      <a:pt x="1041" y="146"/>
                      <a:pt x="1001" y="189"/>
                      <a:pt x="949" y="191"/>
                    </a:cubicBezTo>
                    <a:cubicBezTo>
                      <a:pt x="937" y="192"/>
                      <a:pt x="925" y="191"/>
                      <a:pt x="910" y="191"/>
                    </a:cubicBezTo>
                    <a:cubicBezTo>
                      <a:pt x="910" y="200"/>
                      <a:pt x="909" y="207"/>
                      <a:pt x="909" y="214"/>
                    </a:cubicBezTo>
                    <a:cubicBezTo>
                      <a:pt x="909" y="369"/>
                      <a:pt x="909" y="523"/>
                      <a:pt x="910" y="678"/>
                    </a:cubicBezTo>
                    <a:cubicBezTo>
                      <a:pt x="910" y="690"/>
                      <a:pt x="914" y="703"/>
                      <a:pt x="920" y="713"/>
                    </a:cubicBezTo>
                    <a:cubicBezTo>
                      <a:pt x="1081" y="985"/>
                      <a:pt x="1241" y="1256"/>
                      <a:pt x="1404" y="1527"/>
                    </a:cubicBezTo>
                    <a:cubicBezTo>
                      <a:pt x="1430" y="1570"/>
                      <a:pt x="1432" y="1614"/>
                      <a:pt x="1419" y="1659"/>
                    </a:cubicBezTo>
                    <a:cubicBezTo>
                      <a:pt x="1402" y="1718"/>
                      <a:pt x="1364" y="1761"/>
                      <a:pt x="1307" y="1783"/>
                    </a:cubicBezTo>
                    <a:cubicBezTo>
                      <a:pt x="1294" y="1788"/>
                      <a:pt x="1280" y="1791"/>
                      <a:pt x="1266" y="1791"/>
                    </a:cubicBezTo>
                    <a:cubicBezTo>
                      <a:pt x="908" y="1791"/>
                      <a:pt x="550" y="1791"/>
                      <a:pt x="192" y="1792"/>
                    </a:cubicBezTo>
                    <a:cubicBezTo>
                      <a:pt x="131" y="1792"/>
                      <a:pt x="86" y="1767"/>
                      <a:pt x="53" y="1721"/>
                    </a:cubicBezTo>
                    <a:cubicBezTo>
                      <a:pt x="9" y="1660"/>
                      <a:pt x="0" y="1596"/>
                      <a:pt x="36" y="1526"/>
                    </a:cubicBezTo>
                    <a:cubicBezTo>
                      <a:pt x="176" y="1254"/>
                      <a:pt x="316" y="981"/>
                      <a:pt x="456" y="709"/>
                    </a:cubicBezTo>
                    <a:cubicBezTo>
                      <a:pt x="459" y="701"/>
                      <a:pt x="462" y="693"/>
                      <a:pt x="462" y="684"/>
                    </a:cubicBezTo>
                    <a:cubicBezTo>
                      <a:pt x="463" y="524"/>
                      <a:pt x="463" y="364"/>
                      <a:pt x="464" y="204"/>
                    </a:cubicBezTo>
                    <a:cubicBezTo>
                      <a:pt x="464" y="201"/>
                      <a:pt x="463" y="198"/>
                      <a:pt x="462" y="191"/>
                    </a:cubicBezTo>
                    <a:close/>
                    <a:moveTo>
                      <a:pt x="528" y="128"/>
                    </a:moveTo>
                    <a:cubicBezTo>
                      <a:pt x="528" y="139"/>
                      <a:pt x="528" y="147"/>
                      <a:pt x="528" y="155"/>
                    </a:cubicBezTo>
                    <a:cubicBezTo>
                      <a:pt x="528" y="329"/>
                      <a:pt x="528" y="503"/>
                      <a:pt x="527" y="677"/>
                    </a:cubicBezTo>
                    <a:cubicBezTo>
                      <a:pt x="527" y="690"/>
                      <a:pt x="524" y="704"/>
                      <a:pt x="518" y="715"/>
                    </a:cubicBezTo>
                    <a:cubicBezTo>
                      <a:pt x="375" y="996"/>
                      <a:pt x="232" y="1277"/>
                      <a:pt x="88" y="1558"/>
                    </a:cubicBezTo>
                    <a:cubicBezTo>
                      <a:pt x="53" y="1628"/>
                      <a:pt x="113" y="1727"/>
                      <a:pt x="191" y="1727"/>
                    </a:cubicBezTo>
                    <a:cubicBezTo>
                      <a:pt x="545" y="1727"/>
                      <a:pt x="898" y="1727"/>
                      <a:pt x="1251" y="1727"/>
                    </a:cubicBezTo>
                    <a:cubicBezTo>
                      <a:pt x="1294" y="1727"/>
                      <a:pt x="1324" y="1703"/>
                      <a:pt x="1344" y="1668"/>
                    </a:cubicBezTo>
                    <a:cubicBezTo>
                      <a:pt x="1365" y="1633"/>
                      <a:pt x="1372" y="1594"/>
                      <a:pt x="1350" y="1556"/>
                    </a:cubicBezTo>
                    <a:cubicBezTo>
                      <a:pt x="1190" y="1282"/>
                      <a:pt x="1031" y="1007"/>
                      <a:pt x="871" y="733"/>
                    </a:cubicBezTo>
                    <a:cubicBezTo>
                      <a:pt x="856" y="707"/>
                      <a:pt x="849" y="681"/>
                      <a:pt x="849" y="652"/>
                    </a:cubicBezTo>
                    <a:cubicBezTo>
                      <a:pt x="849" y="484"/>
                      <a:pt x="849" y="316"/>
                      <a:pt x="849" y="148"/>
                    </a:cubicBezTo>
                    <a:cubicBezTo>
                      <a:pt x="848" y="142"/>
                      <a:pt x="849" y="135"/>
                      <a:pt x="849" y="128"/>
                    </a:cubicBezTo>
                    <a:cubicBezTo>
                      <a:pt x="883" y="128"/>
                      <a:pt x="914" y="128"/>
                      <a:pt x="946" y="127"/>
                    </a:cubicBezTo>
                    <a:cubicBezTo>
                      <a:pt x="964" y="127"/>
                      <a:pt x="976" y="113"/>
                      <a:pt x="976" y="97"/>
                    </a:cubicBezTo>
                    <a:cubicBezTo>
                      <a:pt x="977" y="80"/>
                      <a:pt x="963" y="66"/>
                      <a:pt x="945" y="64"/>
                    </a:cubicBezTo>
                    <a:cubicBezTo>
                      <a:pt x="941" y="64"/>
                      <a:pt x="937" y="64"/>
                      <a:pt x="933" y="64"/>
                    </a:cubicBezTo>
                    <a:cubicBezTo>
                      <a:pt x="770" y="64"/>
                      <a:pt x="608" y="64"/>
                      <a:pt x="445" y="64"/>
                    </a:cubicBezTo>
                    <a:cubicBezTo>
                      <a:pt x="439" y="64"/>
                      <a:pt x="433" y="64"/>
                      <a:pt x="427" y="65"/>
                    </a:cubicBezTo>
                    <a:cubicBezTo>
                      <a:pt x="408" y="68"/>
                      <a:pt x="396" y="88"/>
                      <a:pt x="403" y="106"/>
                    </a:cubicBezTo>
                    <a:cubicBezTo>
                      <a:pt x="408" y="122"/>
                      <a:pt x="420" y="128"/>
                      <a:pt x="437" y="128"/>
                    </a:cubicBezTo>
                    <a:cubicBezTo>
                      <a:pt x="466" y="128"/>
                      <a:pt x="496" y="128"/>
                      <a:pt x="528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1" name="Freeform 42">
                <a:extLst>
                  <a:ext uri="{FF2B5EF4-FFF2-40B4-BE49-F238E27FC236}">
                    <a16:creationId xmlns:a16="http://schemas.microsoft.com/office/drawing/2014/main" id="{D088B1E6-9DC6-443D-8C8A-232659017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107"/>
                <a:ext cx="194" cy="192"/>
              </a:xfrm>
              <a:custGeom>
                <a:avLst/>
                <a:gdLst>
                  <a:gd name="T0" fmla="*/ 65 w 129"/>
                  <a:gd name="T1" fmla="*/ 128 h 128"/>
                  <a:gd name="T2" fmla="*/ 1 w 129"/>
                  <a:gd name="T3" fmla="*/ 65 h 128"/>
                  <a:gd name="T4" fmla="*/ 64 w 129"/>
                  <a:gd name="T5" fmla="*/ 0 h 128"/>
                  <a:gd name="T6" fmla="*/ 128 w 129"/>
                  <a:gd name="T7" fmla="*/ 64 h 128"/>
                  <a:gd name="T8" fmla="*/ 65 w 129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8">
                    <a:moveTo>
                      <a:pt x="65" y="128"/>
                    </a:moveTo>
                    <a:cubicBezTo>
                      <a:pt x="30" y="128"/>
                      <a:pt x="1" y="101"/>
                      <a:pt x="1" y="65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99" y="0"/>
                      <a:pt x="128" y="29"/>
                      <a:pt x="128" y="64"/>
                    </a:cubicBezTo>
                    <a:cubicBezTo>
                      <a:pt x="129" y="98"/>
                      <a:pt x="100" y="127"/>
                      <a:pt x="65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2" name="Freeform 43">
                <a:extLst>
                  <a:ext uri="{FF2B5EF4-FFF2-40B4-BE49-F238E27FC236}">
                    <a16:creationId xmlns:a16="http://schemas.microsoft.com/office/drawing/2014/main" id="{463D57CE-6C01-44F6-99DC-70318E68C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03"/>
                <a:ext cx="193" cy="192"/>
              </a:xfrm>
              <a:custGeom>
                <a:avLst/>
                <a:gdLst>
                  <a:gd name="T0" fmla="*/ 63 w 128"/>
                  <a:gd name="T1" fmla="*/ 128 h 128"/>
                  <a:gd name="T2" fmla="*/ 0 w 128"/>
                  <a:gd name="T3" fmla="*/ 64 h 128"/>
                  <a:gd name="T4" fmla="*/ 63 w 128"/>
                  <a:gd name="T5" fmla="*/ 0 h 128"/>
                  <a:gd name="T6" fmla="*/ 127 w 128"/>
                  <a:gd name="T7" fmla="*/ 65 h 128"/>
                  <a:gd name="T8" fmla="*/ 63 w 128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28">
                    <a:moveTo>
                      <a:pt x="63" y="128"/>
                    </a:moveTo>
                    <a:cubicBezTo>
                      <a:pt x="28" y="128"/>
                      <a:pt x="0" y="100"/>
                      <a:pt x="0" y="64"/>
                    </a:cubicBezTo>
                    <a:cubicBezTo>
                      <a:pt x="0" y="29"/>
                      <a:pt x="28" y="0"/>
                      <a:pt x="63" y="0"/>
                    </a:cubicBezTo>
                    <a:cubicBezTo>
                      <a:pt x="98" y="0"/>
                      <a:pt x="128" y="30"/>
                      <a:pt x="127" y="65"/>
                    </a:cubicBezTo>
                    <a:cubicBezTo>
                      <a:pt x="127" y="100"/>
                      <a:pt x="98" y="128"/>
                      <a:pt x="63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3" name="Freeform 45">
                <a:extLst>
                  <a:ext uri="{FF2B5EF4-FFF2-40B4-BE49-F238E27FC236}">
                    <a16:creationId xmlns:a16="http://schemas.microsoft.com/office/drawing/2014/main" id="{F31D42CD-F82F-4179-98AA-CF92CCC75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3" y="1773"/>
                <a:ext cx="1771" cy="1172"/>
              </a:xfrm>
              <a:custGeom>
                <a:avLst/>
                <a:gdLst>
                  <a:gd name="T0" fmla="*/ 805 w 1178"/>
                  <a:gd name="T1" fmla="*/ 78 h 781"/>
                  <a:gd name="T2" fmla="*/ 936 w 1178"/>
                  <a:gd name="T3" fmla="*/ 306 h 781"/>
                  <a:gd name="T4" fmla="*/ 1154 w 1178"/>
                  <a:gd name="T5" fmla="*/ 685 h 781"/>
                  <a:gd name="T6" fmla="*/ 1098 w 1178"/>
                  <a:gd name="T7" fmla="*/ 781 h 781"/>
                  <a:gd name="T8" fmla="*/ 79 w 1178"/>
                  <a:gd name="T9" fmla="*/ 781 h 781"/>
                  <a:gd name="T10" fmla="*/ 21 w 1178"/>
                  <a:gd name="T11" fmla="*/ 689 h 781"/>
                  <a:gd name="T12" fmla="*/ 329 w 1178"/>
                  <a:gd name="T13" fmla="*/ 84 h 781"/>
                  <a:gd name="T14" fmla="*/ 502 w 1178"/>
                  <a:gd name="T15" fmla="*/ 33 h 781"/>
                  <a:gd name="T16" fmla="*/ 569 w 1178"/>
                  <a:gd name="T17" fmla="*/ 83 h 781"/>
                  <a:gd name="T18" fmla="*/ 655 w 1178"/>
                  <a:gd name="T19" fmla="*/ 132 h 781"/>
                  <a:gd name="T20" fmla="*/ 787 w 1178"/>
                  <a:gd name="T21" fmla="*/ 92 h 781"/>
                  <a:gd name="T22" fmla="*/ 802 w 1178"/>
                  <a:gd name="T23" fmla="*/ 79 h 781"/>
                  <a:gd name="T24" fmla="*/ 805 w 1178"/>
                  <a:gd name="T25" fmla="*/ 78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8" h="781">
                    <a:moveTo>
                      <a:pt x="805" y="78"/>
                    </a:moveTo>
                    <a:cubicBezTo>
                      <a:pt x="849" y="154"/>
                      <a:pt x="892" y="230"/>
                      <a:pt x="936" y="306"/>
                    </a:cubicBezTo>
                    <a:cubicBezTo>
                      <a:pt x="1008" y="433"/>
                      <a:pt x="1079" y="560"/>
                      <a:pt x="1154" y="685"/>
                    </a:cubicBezTo>
                    <a:cubicBezTo>
                      <a:pt x="1178" y="727"/>
                      <a:pt x="1146" y="781"/>
                      <a:pt x="1098" y="781"/>
                    </a:cubicBezTo>
                    <a:cubicBezTo>
                      <a:pt x="758" y="780"/>
                      <a:pt x="419" y="780"/>
                      <a:pt x="79" y="781"/>
                    </a:cubicBezTo>
                    <a:cubicBezTo>
                      <a:pt x="32" y="781"/>
                      <a:pt x="0" y="730"/>
                      <a:pt x="21" y="689"/>
                    </a:cubicBezTo>
                    <a:cubicBezTo>
                      <a:pt x="125" y="488"/>
                      <a:pt x="226" y="286"/>
                      <a:pt x="329" y="84"/>
                    </a:cubicBezTo>
                    <a:cubicBezTo>
                      <a:pt x="359" y="25"/>
                      <a:pt x="441" y="0"/>
                      <a:pt x="502" y="33"/>
                    </a:cubicBezTo>
                    <a:cubicBezTo>
                      <a:pt x="527" y="46"/>
                      <a:pt x="548" y="65"/>
                      <a:pt x="569" y="83"/>
                    </a:cubicBezTo>
                    <a:cubicBezTo>
                      <a:pt x="595" y="105"/>
                      <a:pt x="622" y="124"/>
                      <a:pt x="655" y="132"/>
                    </a:cubicBezTo>
                    <a:cubicBezTo>
                      <a:pt x="707" y="144"/>
                      <a:pt x="749" y="125"/>
                      <a:pt x="787" y="92"/>
                    </a:cubicBezTo>
                    <a:cubicBezTo>
                      <a:pt x="792" y="88"/>
                      <a:pt x="797" y="83"/>
                      <a:pt x="802" y="79"/>
                    </a:cubicBezTo>
                    <a:cubicBezTo>
                      <a:pt x="803" y="78"/>
                      <a:pt x="803" y="78"/>
                      <a:pt x="805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C51FD42-21B9-43D4-A8EC-538C27DA8AB0}"/>
                </a:ext>
              </a:extLst>
            </p:cNvPr>
            <p:cNvSpPr/>
            <p:nvPr userDrawn="1"/>
          </p:nvSpPr>
          <p:spPr>
            <a:xfrm rot="16200000" flipH="1">
              <a:off x="4544379" y="-398872"/>
              <a:ext cx="45719" cy="9153523"/>
            </a:xfrm>
            <a:prstGeom prst="rect">
              <a:avLst/>
            </a:prstGeom>
            <a:solidFill>
              <a:srgbClr val="009FDA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14803907-D560-4C52-923A-1DF2E9E1A6F5}"/>
                </a:ext>
              </a:extLst>
            </p:cNvPr>
            <p:cNvGrpSpPr/>
            <p:nvPr userDrawn="1"/>
          </p:nvGrpSpPr>
          <p:grpSpPr>
            <a:xfrm>
              <a:off x="7503032" y="33559"/>
              <a:ext cx="698710" cy="623536"/>
              <a:chOff x="9190927" y="210961"/>
              <a:chExt cx="814733" cy="727076"/>
            </a:xfrm>
          </p:grpSpPr>
          <p:grpSp>
            <p:nvGrpSpPr>
              <p:cNvPr id="260" name="Group 4">
                <a:extLst>
                  <a:ext uri="{FF2B5EF4-FFF2-40B4-BE49-F238E27FC236}">
                    <a16:creationId xmlns:a16="http://schemas.microsoft.com/office/drawing/2014/main" id="{0CBE5023-0039-4304-BCDD-E27DA5F1600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6" name="Freeform 5">
                  <a:extLst>
                    <a:ext uri="{FF2B5EF4-FFF2-40B4-BE49-F238E27FC236}">
                      <a16:creationId xmlns:a16="http://schemas.microsoft.com/office/drawing/2014/main" id="{EDD31BE2-22C1-4BC5-922F-4CB72895F8A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7" name="Freeform 6">
                  <a:extLst>
                    <a:ext uri="{FF2B5EF4-FFF2-40B4-BE49-F238E27FC236}">
                      <a16:creationId xmlns:a16="http://schemas.microsoft.com/office/drawing/2014/main" id="{6BBE0D01-C90E-4D57-B4A9-6F4F707831F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8" name="Freeform 7">
                  <a:extLst>
                    <a:ext uri="{FF2B5EF4-FFF2-40B4-BE49-F238E27FC236}">
                      <a16:creationId xmlns:a16="http://schemas.microsoft.com/office/drawing/2014/main" id="{D676979B-2804-4F29-9C34-252EB50C195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9" name="Oval 8">
                  <a:extLst>
                    <a:ext uri="{FF2B5EF4-FFF2-40B4-BE49-F238E27FC236}">
                      <a16:creationId xmlns:a16="http://schemas.microsoft.com/office/drawing/2014/main" id="{CEB6A559-E6E6-41D4-BA0C-4607522E77A4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1" name="Group 4">
                <a:extLst>
                  <a:ext uri="{FF2B5EF4-FFF2-40B4-BE49-F238E27FC236}">
                    <a16:creationId xmlns:a16="http://schemas.microsoft.com/office/drawing/2014/main" id="{A3FE6F58-C31C-44B3-8BA5-F6BB172BE64C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2" name="Freeform 5">
                  <a:extLst>
                    <a:ext uri="{FF2B5EF4-FFF2-40B4-BE49-F238E27FC236}">
                      <a16:creationId xmlns:a16="http://schemas.microsoft.com/office/drawing/2014/main" id="{B7F56473-3D14-4ED1-A3EB-F4A7180B20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3" name="Freeform 6">
                  <a:extLst>
                    <a:ext uri="{FF2B5EF4-FFF2-40B4-BE49-F238E27FC236}">
                      <a16:creationId xmlns:a16="http://schemas.microsoft.com/office/drawing/2014/main" id="{72638918-AF3C-4AD8-B88E-72A978B5350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4" name="Freeform 7">
                  <a:extLst>
                    <a:ext uri="{FF2B5EF4-FFF2-40B4-BE49-F238E27FC236}">
                      <a16:creationId xmlns:a16="http://schemas.microsoft.com/office/drawing/2014/main" id="{EF4A916B-8649-409B-B1F6-6CF88B0474D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5" name="Oval 8">
                  <a:extLst>
                    <a:ext uri="{FF2B5EF4-FFF2-40B4-BE49-F238E27FC236}">
                      <a16:creationId xmlns:a16="http://schemas.microsoft.com/office/drawing/2014/main" id="{9AA4566B-D9AC-4695-A9F4-9A643383DC1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2" name="Group 4">
                <a:extLst>
                  <a:ext uri="{FF2B5EF4-FFF2-40B4-BE49-F238E27FC236}">
                    <a16:creationId xmlns:a16="http://schemas.microsoft.com/office/drawing/2014/main" id="{B0B2F3A2-BC34-454E-9C55-3C35D997374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8" name="Freeform 5">
                  <a:extLst>
                    <a:ext uri="{FF2B5EF4-FFF2-40B4-BE49-F238E27FC236}">
                      <a16:creationId xmlns:a16="http://schemas.microsoft.com/office/drawing/2014/main" id="{1ACDD0D5-65A5-4029-8B07-8E11EAF4320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9" name="Freeform 6">
                  <a:extLst>
                    <a:ext uri="{FF2B5EF4-FFF2-40B4-BE49-F238E27FC236}">
                      <a16:creationId xmlns:a16="http://schemas.microsoft.com/office/drawing/2014/main" id="{0147FADB-5CF5-40F2-84C0-BE04D21867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0" name="Freeform 7">
                  <a:extLst>
                    <a:ext uri="{FF2B5EF4-FFF2-40B4-BE49-F238E27FC236}">
                      <a16:creationId xmlns:a16="http://schemas.microsoft.com/office/drawing/2014/main" id="{BBFB1532-9FAC-4535-8AFB-2F1CA587270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1" name="Oval 8">
                  <a:extLst>
                    <a:ext uri="{FF2B5EF4-FFF2-40B4-BE49-F238E27FC236}">
                      <a16:creationId xmlns:a16="http://schemas.microsoft.com/office/drawing/2014/main" id="{FB0D6103-8662-459A-ACF3-33EFA6C9CC71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3" name="Group 4">
                <a:extLst>
                  <a:ext uri="{FF2B5EF4-FFF2-40B4-BE49-F238E27FC236}">
                    <a16:creationId xmlns:a16="http://schemas.microsoft.com/office/drawing/2014/main" id="{3DCF2843-CFBB-4FAD-90E5-79F019ED5AED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4" name="Freeform 5">
                  <a:extLst>
                    <a:ext uri="{FF2B5EF4-FFF2-40B4-BE49-F238E27FC236}">
                      <a16:creationId xmlns:a16="http://schemas.microsoft.com/office/drawing/2014/main" id="{2AE913A6-998B-49EF-89B8-F63A13A22BF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5" name="Freeform 6">
                  <a:extLst>
                    <a:ext uri="{FF2B5EF4-FFF2-40B4-BE49-F238E27FC236}">
                      <a16:creationId xmlns:a16="http://schemas.microsoft.com/office/drawing/2014/main" id="{65C8582C-E643-418C-A010-5F15F45C43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6" name="Freeform 7">
                  <a:extLst>
                    <a:ext uri="{FF2B5EF4-FFF2-40B4-BE49-F238E27FC236}">
                      <a16:creationId xmlns:a16="http://schemas.microsoft.com/office/drawing/2014/main" id="{96D1807B-E19F-4F7F-BDB3-8066EEED8DA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7" name="Oval 8">
                  <a:extLst>
                    <a:ext uri="{FF2B5EF4-FFF2-40B4-BE49-F238E27FC236}">
                      <a16:creationId xmlns:a16="http://schemas.microsoft.com/office/drawing/2014/main" id="{F17264AA-43ED-4DE9-B39D-B6B3E23949D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4" name="Group 4">
                <a:extLst>
                  <a:ext uri="{FF2B5EF4-FFF2-40B4-BE49-F238E27FC236}">
                    <a16:creationId xmlns:a16="http://schemas.microsoft.com/office/drawing/2014/main" id="{BD8DC4EA-65FB-4225-8252-899220756DFB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0" name="Freeform 5">
                  <a:extLst>
                    <a:ext uri="{FF2B5EF4-FFF2-40B4-BE49-F238E27FC236}">
                      <a16:creationId xmlns:a16="http://schemas.microsoft.com/office/drawing/2014/main" id="{84AAA033-F6F4-4E75-8129-5A9B87697D4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1" name="Freeform 6">
                  <a:extLst>
                    <a:ext uri="{FF2B5EF4-FFF2-40B4-BE49-F238E27FC236}">
                      <a16:creationId xmlns:a16="http://schemas.microsoft.com/office/drawing/2014/main" id="{49F142C7-2552-4C79-81A9-CE6F8C8C70E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2" name="Freeform 7">
                  <a:extLst>
                    <a:ext uri="{FF2B5EF4-FFF2-40B4-BE49-F238E27FC236}">
                      <a16:creationId xmlns:a16="http://schemas.microsoft.com/office/drawing/2014/main" id="{674C8007-12A0-4FF8-810C-36637ACB491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3" name="Oval 8">
                  <a:extLst>
                    <a:ext uri="{FF2B5EF4-FFF2-40B4-BE49-F238E27FC236}">
                      <a16:creationId xmlns:a16="http://schemas.microsoft.com/office/drawing/2014/main" id="{D0BAE79C-B03D-4D3C-BD22-EEA214D7089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5" name="Group 4">
                <a:extLst>
                  <a:ext uri="{FF2B5EF4-FFF2-40B4-BE49-F238E27FC236}">
                    <a16:creationId xmlns:a16="http://schemas.microsoft.com/office/drawing/2014/main" id="{10374411-5B9A-4473-9C11-D230B90AF64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6" name="Freeform 5">
                  <a:extLst>
                    <a:ext uri="{FF2B5EF4-FFF2-40B4-BE49-F238E27FC236}">
                      <a16:creationId xmlns:a16="http://schemas.microsoft.com/office/drawing/2014/main" id="{27467283-7DA6-4FF1-87E0-1C9B77064C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7" name="Freeform 6">
                  <a:extLst>
                    <a:ext uri="{FF2B5EF4-FFF2-40B4-BE49-F238E27FC236}">
                      <a16:creationId xmlns:a16="http://schemas.microsoft.com/office/drawing/2014/main" id="{9ACB551F-B9E7-45AB-874B-9FDF36E692C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8" name="Freeform 7">
                  <a:extLst>
                    <a:ext uri="{FF2B5EF4-FFF2-40B4-BE49-F238E27FC236}">
                      <a16:creationId xmlns:a16="http://schemas.microsoft.com/office/drawing/2014/main" id="{26F640E1-57DA-4046-8A92-F0337A7CE8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9" name="Oval 8">
                  <a:extLst>
                    <a:ext uri="{FF2B5EF4-FFF2-40B4-BE49-F238E27FC236}">
                      <a16:creationId xmlns:a16="http://schemas.microsoft.com/office/drawing/2014/main" id="{B04EE586-93D1-40F1-8366-8BD4CB9702B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6" name="Group 4">
                <a:extLst>
                  <a:ext uri="{FF2B5EF4-FFF2-40B4-BE49-F238E27FC236}">
                    <a16:creationId xmlns:a16="http://schemas.microsoft.com/office/drawing/2014/main" id="{3030F8B8-1387-492B-9469-4CB8CC585AA9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2" name="Freeform 5">
                  <a:extLst>
                    <a:ext uri="{FF2B5EF4-FFF2-40B4-BE49-F238E27FC236}">
                      <a16:creationId xmlns:a16="http://schemas.microsoft.com/office/drawing/2014/main" id="{0ED9C729-AD53-4DA4-BF8E-21398571CF3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3" name="Freeform 6">
                  <a:extLst>
                    <a:ext uri="{FF2B5EF4-FFF2-40B4-BE49-F238E27FC236}">
                      <a16:creationId xmlns:a16="http://schemas.microsoft.com/office/drawing/2014/main" id="{84538DF4-47E6-4B0A-A82F-0E89627CB8A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4" name="Freeform 7">
                  <a:extLst>
                    <a:ext uri="{FF2B5EF4-FFF2-40B4-BE49-F238E27FC236}">
                      <a16:creationId xmlns:a16="http://schemas.microsoft.com/office/drawing/2014/main" id="{2984A441-6432-4AD7-9D1F-6A121A4B42D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5" name="Oval 8">
                  <a:extLst>
                    <a:ext uri="{FF2B5EF4-FFF2-40B4-BE49-F238E27FC236}">
                      <a16:creationId xmlns:a16="http://schemas.microsoft.com/office/drawing/2014/main" id="{3C2D3B7A-6663-40C8-A94E-8A930B20CA7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7" name="Group 4">
                <a:extLst>
                  <a:ext uri="{FF2B5EF4-FFF2-40B4-BE49-F238E27FC236}">
                    <a16:creationId xmlns:a16="http://schemas.microsoft.com/office/drawing/2014/main" id="{8C1CBFB2-C334-4632-B641-74D726FCC59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68" name="Freeform 5">
                  <a:extLst>
                    <a:ext uri="{FF2B5EF4-FFF2-40B4-BE49-F238E27FC236}">
                      <a16:creationId xmlns:a16="http://schemas.microsoft.com/office/drawing/2014/main" id="{2CD22FC3-C7EC-48DE-ABA3-B8D098E4589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69" name="Freeform 6">
                  <a:extLst>
                    <a:ext uri="{FF2B5EF4-FFF2-40B4-BE49-F238E27FC236}">
                      <a16:creationId xmlns:a16="http://schemas.microsoft.com/office/drawing/2014/main" id="{6477FEEF-44B3-46A1-9093-C94D4C339AD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0" name="Freeform 7">
                  <a:extLst>
                    <a:ext uri="{FF2B5EF4-FFF2-40B4-BE49-F238E27FC236}">
                      <a16:creationId xmlns:a16="http://schemas.microsoft.com/office/drawing/2014/main" id="{975081A2-5152-480A-BB68-69D3BB1FEA8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1" name="Oval 8">
                  <a:extLst>
                    <a:ext uri="{FF2B5EF4-FFF2-40B4-BE49-F238E27FC236}">
                      <a16:creationId xmlns:a16="http://schemas.microsoft.com/office/drawing/2014/main" id="{F3BB9AF9-894A-453F-8666-4C20FD4AC1D6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4A23F8AB-14DF-4165-9BEF-1A7F56582A23}"/>
                </a:ext>
              </a:extLst>
            </p:cNvPr>
            <p:cNvGrpSpPr/>
            <p:nvPr userDrawn="1"/>
          </p:nvGrpSpPr>
          <p:grpSpPr>
            <a:xfrm>
              <a:off x="3350951" y="3531233"/>
              <a:ext cx="455447" cy="406446"/>
              <a:chOff x="9190927" y="210961"/>
              <a:chExt cx="814733" cy="727076"/>
            </a:xfrm>
            <a:solidFill>
              <a:srgbClr val="61A4C8"/>
            </a:solidFill>
          </p:grpSpPr>
          <p:grpSp>
            <p:nvGrpSpPr>
              <p:cNvPr id="220" name="Group 4">
                <a:extLst>
                  <a:ext uri="{FF2B5EF4-FFF2-40B4-BE49-F238E27FC236}">
                    <a16:creationId xmlns:a16="http://schemas.microsoft.com/office/drawing/2014/main" id="{D66F3FBF-785D-4908-9868-6A9475BA298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grpFill/>
            </p:grpSpPr>
            <p:sp>
              <p:nvSpPr>
                <p:cNvPr id="256" name="Freeform 5">
                  <a:extLst>
                    <a:ext uri="{FF2B5EF4-FFF2-40B4-BE49-F238E27FC236}">
                      <a16:creationId xmlns:a16="http://schemas.microsoft.com/office/drawing/2014/main" id="{5E3B00E1-9CBF-40DF-AB27-6AD172D3CC2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7" name="Freeform 6">
                  <a:extLst>
                    <a:ext uri="{FF2B5EF4-FFF2-40B4-BE49-F238E27FC236}">
                      <a16:creationId xmlns:a16="http://schemas.microsoft.com/office/drawing/2014/main" id="{CBA5E845-E86C-4AAA-9703-8E64F2FE3BC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8" name="Freeform 7">
                  <a:extLst>
                    <a:ext uri="{FF2B5EF4-FFF2-40B4-BE49-F238E27FC236}">
                      <a16:creationId xmlns:a16="http://schemas.microsoft.com/office/drawing/2014/main" id="{4169DED7-041F-4105-AA2F-1561D31171F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9" name="Oval 8">
                  <a:extLst>
                    <a:ext uri="{FF2B5EF4-FFF2-40B4-BE49-F238E27FC236}">
                      <a16:creationId xmlns:a16="http://schemas.microsoft.com/office/drawing/2014/main" id="{3D90A6CD-CF9D-4F2C-94CF-F2A6C2E3F287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1" name="Group 4">
                <a:extLst>
                  <a:ext uri="{FF2B5EF4-FFF2-40B4-BE49-F238E27FC236}">
                    <a16:creationId xmlns:a16="http://schemas.microsoft.com/office/drawing/2014/main" id="{73C971E8-1B28-4102-960B-98469801DFF7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grpFill/>
            </p:grpSpPr>
            <p:sp>
              <p:nvSpPr>
                <p:cNvPr id="252" name="Freeform 5">
                  <a:extLst>
                    <a:ext uri="{FF2B5EF4-FFF2-40B4-BE49-F238E27FC236}">
                      <a16:creationId xmlns:a16="http://schemas.microsoft.com/office/drawing/2014/main" id="{06121D32-2504-4C10-A65A-265271F6D8F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3" name="Freeform 6">
                  <a:extLst>
                    <a:ext uri="{FF2B5EF4-FFF2-40B4-BE49-F238E27FC236}">
                      <a16:creationId xmlns:a16="http://schemas.microsoft.com/office/drawing/2014/main" id="{99D66AE0-80BB-4FF5-B669-28B633BE280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4" name="Freeform 7">
                  <a:extLst>
                    <a:ext uri="{FF2B5EF4-FFF2-40B4-BE49-F238E27FC236}">
                      <a16:creationId xmlns:a16="http://schemas.microsoft.com/office/drawing/2014/main" id="{C6156161-4336-4109-8A1A-160D63DC9C6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5" name="Oval 8">
                  <a:extLst>
                    <a:ext uri="{FF2B5EF4-FFF2-40B4-BE49-F238E27FC236}">
                      <a16:creationId xmlns:a16="http://schemas.microsoft.com/office/drawing/2014/main" id="{626ABDD2-9C2E-4574-AE92-C404A88E8E4D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2" name="Group 4">
                <a:extLst>
                  <a:ext uri="{FF2B5EF4-FFF2-40B4-BE49-F238E27FC236}">
                    <a16:creationId xmlns:a16="http://schemas.microsoft.com/office/drawing/2014/main" id="{9B76A1A3-936B-4FB1-9090-EAA8A6570AB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id="{B69B3006-E75A-46B4-BE2F-E354B6A8F31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id="{41282BAA-B774-4B18-B78D-9FF5893030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id="{025C13ED-45F4-40F4-A461-044FD06833D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1" name="Oval 8">
                  <a:extLst>
                    <a:ext uri="{FF2B5EF4-FFF2-40B4-BE49-F238E27FC236}">
                      <a16:creationId xmlns:a16="http://schemas.microsoft.com/office/drawing/2014/main" id="{99A530D7-03AD-4F94-9BEA-266A036A020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3" name="Group 4">
                <a:extLst>
                  <a:ext uri="{FF2B5EF4-FFF2-40B4-BE49-F238E27FC236}">
                    <a16:creationId xmlns:a16="http://schemas.microsoft.com/office/drawing/2014/main" id="{C68C6270-7926-435C-80E6-B0074CA5B42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4" name="Freeform 5">
                  <a:extLst>
                    <a:ext uri="{FF2B5EF4-FFF2-40B4-BE49-F238E27FC236}">
                      <a16:creationId xmlns:a16="http://schemas.microsoft.com/office/drawing/2014/main" id="{1DE37ABB-9864-4266-8D2B-7A33E6F7AD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5" name="Freeform 6">
                  <a:extLst>
                    <a:ext uri="{FF2B5EF4-FFF2-40B4-BE49-F238E27FC236}">
                      <a16:creationId xmlns:a16="http://schemas.microsoft.com/office/drawing/2014/main" id="{9F7FCA9E-6B16-44F2-942A-A2BC6C3C38C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6" name="Freeform 7">
                  <a:extLst>
                    <a:ext uri="{FF2B5EF4-FFF2-40B4-BE49-F238E27FC236}">
                      <a16:creationId xmlns:a16="http://schemas.microsoft.com/office/drawing/2014/main" id="{CB77EBD5-087B-4448-B2EA-B6605EE2C92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7" name="Oval 8">
                  <a:extLst>
                    <a:ext uri="{FF2B5EF4-FFF2-40B4-BE49-F238E27FC236}">
                      <a16:creationId xmlns:a16="http://schemas.microsoft.com/office/drawing/2014/main" id="{DAC830F4-47DF-41B1-ACA5-8530266DC8F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4" name="Group 4">
                <a:extLst>
                  <a:ext uri="{FF2B5EF4-FFF2-40B4-BE49-F238E27FC236}">
                    <a16:creationId xmlns:a16="http://schemas.microsoft.com/office/drawing/2014/main" id="{E70D1B36-412B-48EC-B5EA-1B0D94E6A6C1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0" name="Freeform 5">
                  <a:extLst>
                    <a:ext uri="{FF2B5EF4-FFF2-40B4-BE49-F238E27FC236}">
                      <a16:creationId xmlns:a16="http://schemas.microsoft.com/office/drawing/2014/main" id="{5D177913-3023-4394-85DE-4C1E164E8B9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1" name="Freeform 6">
                  <a:extLst>
                    <a:ext uri="{FF2B5EF4-FFF2-40B4-BE49-F238E27FC236}">
                      <a16:creationId xmlns:a16="http://schemas.microsoft.com/office/drawing/2014/main" id="{166D15AE-2B0F-441F-AE30-93616AD72E9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2" name="Freeform 7">
                  <a:extLst>
                    <a:ext uri="{FF2B5EF4-FFF2-40B4-BE49-F238E27FC236}">
                      <a16:creationId xmlns:a16="http://schemas.microsoft.com/office/drawing/2014/main" id="{D59BC07B-6358-4347-90E3-5111237705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3" name="Oval 8">
                  <a:extLst>
                    <a:ext uri="{FF2B5EF4-FFF2-40B4-BE49-F238E27FC236}">
                      <a16:creationId xmlns:a16="http://schemas.microsoft.com/office/drawing/2014/main" id="{C0BBCCE4-E14C-4891-A519-3F5C8C7CA40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5" name="Group 4">
                <a:extLst>
                  <a:ext uri="{FF2B5EF4-FFF2-40B4-BE49-F238E27FC236}">
                    <a16:creationId xmlns:a16="http://schemas.microsoft.com/office/drawing/2014/main" id="{AECA6FB2-3569-4C8A-B0AD-C303E3ACE1B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6" name="Freeform 5">
                  <a:extLst>
                    <a:ext uri="{FF2B5EF4-FFF2-40B4-BE49-F238E27FC236}">
                      <a16:creationId xmlns:a16="http://schemas.microsoft.com/office/drawing/2014/main" id="{C962D0D7-0CAD-44AC-8BEC-2DE1321B517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7" name="Freeform 6">
                  <a:extLst>
                    <a:ext uri="{FF2B5EF4-FFF2-40B4-BE49-F238E27FC236}">
                      <a16:creationId xmlns:a16="http://schemas.microsoft.com/office/drawing/2014/main" id="{2156416E-E0D8-4A98-9B0E-8F64783036F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8" name="Freeform 7">
                  <a:extLst>
                    <a:ext uri="{FF2B5EF4-FFF2-40B4-BE49-F238E27FC236}">
                      <a16:creationId xmlns:a16="http://schemas.microsoft.com/office/drawing/2014/main" id="{5565C699-1C68-4111-92C6-4E7E1E13179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9" name="Oval 8">
                  <a:extLst>
                    <a:ext uri="{FF2B5EF4-FFF2-40B4-BE49-F238E27FC236}">
                      <a16:creationId xmlns:a16="http://schemas.microsoft.com/office/drawing/2014/main" id="{0396453D-2B5B-49E9-B03B-C6F38B956B3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6" name="Group 4">
                <a:extLst>
                  <a:ext uri="{FF2B5EF4-FFF2-40B4-BE49-F238E27FC236}">
                    <a16:creationId xmlns:a16="http://schemas.microsoft.com/office/drawing/2014/main" id="{0C4FD1FD-DF38-4AE5-A941-93A1DEA49A1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2" name="Freeform 5">
                  <a:extLst>
                    <a:ext uri="{FF2B5EF4-FFF2-40B4-BE49-F238E27FC236}">
                      <a16:creationId xmlns:a16="http://schemas.microsoft.com/office/drawing/2014/main" id="{9227D54A-DA3E-4E8E-B55E-EC61DED7BDA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3" name="Freeform 6">
                  <a:extLst>
                    <a:ext uri="{FF2B5EF4-FFF2-40B4-BE49-F238E27FC236}">
                      <a16:creationId xmlns:a16="http://schemas.microsoft.com/office/drawing/2014/main" id="{3D2580B2-3233-4A72-A8BA-749EBCC209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4" name="Freeform 7">
                  <a:extLst>
                    <a:ext uri="{FF2B5EF4-FFF2-40B4-BE49-F238E27FC236}">
                      <a16:creationId xmlns:a16="http://schemas.microsoft.com/office/drawing/2014/main" id="{8E76B529-5C6E-4833-9E71-AF33228C9E3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5" name="Oval 8">
                  <a:extLst>
                    <a:ext uri="{FF2B5EF4-FFF2-40B4-BE49-F238E27FC236}">
                      <a16:creationId xmlns:a16="http://schemas.microsoft.com/office/drawing/2014/main" id="{73C724B6-BF4F-47C3-B19A-48085D4E1AC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7" name="Group 4">
                <a:extLst>
                  <a:ext uri="{FF2B5EF4-FFF2-40B4-BE49-F238E27FC236}">
                    <a16:creationId xmlns:a16="http://schemas.microsoft.com/office/drawing/2014/main" id="{5BB6D903-01C9-4DA9-94C3-F1BB0CB1179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28" name="Freeform 5">
                  <a:extLst>
                    <a:ext uri="{FF2B5EF4-FFF2-40B4-BE49-F238E27FC236}">
                      <a16:creationId xmlns:a16="http://schemas.microsoft.com/office/drawing/2014/main" id="{3C3A5E97-FCE9-4FFF-B583-701D66F03C6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29" name="Freeform 6">
                  <a:extLst>
                    <a:ext uri="{FF2B5EF4-FFF2-40B4-BE49-F238E27FC236}">
                      <a16:creationId xmlns:a16="http://schemas.microsoft.com/office/drawing/2014/main" id="{C33F33B1-11EE-4149-9620-944BF2F0641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0" name="Freeform 7">
                  <a:extLst>
                    <a:ext uri="{FF2B5EF4-FFF2-40B4-BE49-F238E27FC236}">
                      <a16:creationId xmlns:a16="http://schemas.microsoft.com/office/drawing/2014/main" id="{C66A1406-4F78-410C-A80B-F693D2F779C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1" name="Oval 8">
                  <a:extLst>
                    <a:ext uri="{FF2B5EF4-FFF2-40B4-BE49-F238E27FC236}">
                      <a16:creationId xmlns:a16="http://schemas.microsoft.com/office/drawing/2014/main" id="{9D63C7A2-3ED5-485B-BAFA-D9E88EED3D5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27304C29-33A5-4E21-B703-9DB98C54A47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240653" y="2569895"/>
              <a:ext cx="607697" cy="604800"/>
              <a:chOff x="6710363" y="3908426"/>
              <a:chExt cx="333376" cy="331787"/>
            </a:xfrm>
            <a:solidFill>
              <a:srgbClr val="FFFFFF"/>
            </a:solidFill>
          </p:grpSpPr>
          <p:sp>
            <p:nvSpPr>
              <p:cNvPr id="217" name="Freeform 1149">
                <a:extLst>
                  <a:ext uri="{FF2B5EF4-FFF2-40B4-BE49-F238E27FC236}">
                    <a16:creationId xmlns:a16="http://schemas.microsoft.com/office/drawing/2014/main" id="{5A34C4D5-B543-47A5-A9A3-2A1148C9E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8" name="Freeform 1150">
                <a:extLst>
                  <a:ext uri="{FF2B5EF4-FFF2-40B4-BE49-F238E27FC236}">
                    <a16:creationId xmlns:a16="http://schemas.microsoft.com/office/drawing/2014/main" id="{E84DCE17-2F14-47DE-AEAE-675D8CD66A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9" name="Freeform 1151">
                <a:extLst>
                  <a:ext uri="{FF2B5EF4-FFF2-40B4-BE49-F238E27FC236}">
                    <a16:creationId xmlns:a16="http://schemas.microsoft.com/office/drawing/2014/main" id="{A5F1AB7F-4F78-4F88-B673-7FD114AA3B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696AB016-B86B-4518-A085-C4AE53410AB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673172" y="423745"/>
              <a:ext cx="607697" cy="604800"/>
              <a:chOff x="6710363" y="3908426"/>
              <a:chExt cx="333376" cy="331787"/>
            </a:xfrm>
            <a:solidFill>
              <a:srgbClr val="FFFFFF">
                <a:alpha val="26000"/>
              </a:srgbClr>
            </a:solidFill>
          </p:grpSpPr>
          <p:sp>
            <p:nvSpPr>
              <p:cNvPr id="214" name="Freeform 1149">
                <a:extLst>
                  <a:ext uri="{FF2B5EF4-FFF2-40B4-BE49-F238E27FC236}">
                    <a16:creationId xmlns:a16="http://schemas.microsoft.com/office/drawing/2014/main" id="{F1C167AC-F103-4B80-BE67-AC826BFC6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5" name="Freeform 1150">
                <a:extLst>
                  <a:ext uri="{FF2B5EF4-FFF2-40B4-BE49-F238E27FC236}">
                    <a16:creationId xmlns:a16="http://schemas.microsoft.com/office/drawing/2014/main" id="{5219C2D1-B85E-415A-AFD8-1E0FFE0BC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6" name="Freeform 1151">
                <a:extLst>
                  <a:ext uri="{FF2B5EF4-FFF2-40B4-BE49-F238E27FC236}">
                    <a16:creationId xmlns:a16="http://schemas.microsoft.com/office/drawing/2014/main" id="{ABD3B0C0-FFD3-47CC-93A2-CC7E26F0A2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24402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222444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06E89B-F1B0-48A4-8827-107446FBFBCE}" type="datetime3">
              <a:rPr lang="en-US" smtClean="0"/>
              <a:pPr/>
              <a:t>31 March 2025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255540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0022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B387FAC7-4495-4B53-B895-86075CD260E1}"/>
              </a:ext>
            </a:extLst>
          </p:cNvPr>
          <p:cNvGrpSpPr/>
          <p:nvPr userDrawn="1"/>
        </p:nvGrpSpPr>
        <p:grpSpPr>
          <a:xfrm>
            <a:off x="-15583" y="848925"/>
            <a:ext cx="12238748" cy="5088665"/>
            <a:chOff x="-11688" y="592243"/>
            <a:chExt cx="9179061" cy="381649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C303820-98FC-489A-AC81-8E95961FDFED}"/>
                </a:ext>
              </a:extLst>
            </p:cNvPr>
            <p:cNvSpPr/>
            <p:nvPr/>
          </p:nvSpPr>
          <p:spPr>
            <a:xfrm>
              <a:off x="0" y="623670"/>
              <a:ext cx="9144000" cy="3677661"/>
            </a:xfrm>
            <a:prstGeom prst="rect">
              <a:avLst/>
            </a:prstGeom>
            <a:solidFill>
              <a:srgbClr val="7FCEE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39D65B5-0DDF-445A-9308-D20097A47173}"/>
                </a:ext>
              </a:extLst>
            </p:cNvPr>
            <p:cNvGrpSpPr/>
            <p:nvPr/>
          </p:nvGrpSpPr>
          <p:grpSpPr>
            <a:xfrm>
              <a:off x="-4651" y="3426626"/>
              <a:ext cx="8833686" cy="283968"/>
              <a:chOff x="-4" y="806463"/>
              <a:chExt cx="7093002" cy="283968"/>
            </a:xfrm>
          </p:grpSpPr>
          <p:sp>
            <p:nvSpPr>
              <p:cNvPr id="96" name="Rectangle: Top Corners Rounded 95">
                <a:extLst>
                  <a:ext uri="{FF2B5EF4-FFF2-40B4-BE49-F238E27FC236}">
                    <a16:creationId xmlns:a16="http://schemas.microsoft.com/office/drawing/2014/main" id="{C53C6BA5-B65E-4B36-8DA0-19D643BE7BF9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Rectangle: Top Corners Rounded 96">
                <a:extLst>
                  <a:ext uri="{FF2B5EF4-FFF2-40B4-BE49-F238E27FC236}">
                    <a16:creationId xmlns:a16="http://schemas.microsoft.com/office/drawing/2014/main" id="{B01C1FAB-794A-40D0-9687-F12D0CFC63C1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Rectangle: Top Corners Rounded 97">
                <a:extLst>
                  <a:ext uri="{FF2B5EF4-FFF2-40B4-BE49-F238E27FC236}">
                    <a16:creationId xmlns:a16="http://schemas.microsoft.com/office/drawing/2014/main" id="{014B773D-A2BC-4C5A-B136-805A40F1A7C3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2C70583-4CFA-4154-9D98-BBBA2DF6EB90}"/>
                </a:ext>
              </a:extLst>
            </p:cNvPr>
            <p:cNvGrpSpPr/>
            <p:nvPr/>
          </p:nvGrpSpPr>
          <p:grpSpPr>
            <a:xfrm>
              <a:off x="-4" y="806463"/>
              <a:ext cx="7093002" cy="283968"/>
              <a:chOff x="-4" y="806463"/>
              <a:chExt cx="7093002" cy="283968"/>
            </a:xfrm>
          </p:grpSpPr>
          <p:sp>
            <p:nvSpPr>
              <p:cNvPr id="93" name="Rectangle: Top Corners Rounded 92">
                <a:extLst>
                  <a:ext uri="{FF2B5EF4-FFF2-40B4-BE49-F238E27FC236}">
                    <a16:creationId xmlns:a16="http://schemas.microsoft.com/office/drawing/2014/main" id="{BC131FFB-1600-4EF6-B921-4F282DC6376A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: Top Corners Rounded 93">
                <a:extLst>
                  <a:ext uri="{FF2B5EF4-FFF2-40B4-BE49-F238E27FC236}">
                    <a16:creationId xmlns:a16="http://schemas.microsoft.com/office/drawing/2014/main" id="{BA1F0F77-4A89-49A2-8776-0FC94FD588A6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Rectangle: Top Corners Rounded 94">
                <a:extLst>
                  <a:ext uri="{FF2B5EF4-FFF2-40B4-BE49-F238E27FC236}">
                    <a16:creationId xmlns:a16="http://schemas.microsoft.com/office/drawing/2014/main" id="{F5AA3177-1196-49AB-AE4A-BB72D9C6C9B7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BC120C7-35FF-44BC-880B-AA2A8A74B59B}"/>
                </a:ext>
              </a:extLst>
            </p:cNvPr>
            <p:cNvGrpSpPr/>
            <p:nvPr userDrawn="1"/>
          </p:nvGrpSpPr>
          <p:grpSpPr>
            <a:xfrm>
              <a:off x="-2" y="4268790"/>
              <a:ext cx="9167375" cy="47005"/>
              <a:chOff x="-2" y="4268790"/>
              <a:chExt cx="9167375" cy="47005"/>
            </a:xfrm>
          </p:grpSpPr>
          <p:sp>
            <p:nvSpPr>
              <p:cNvPr id="83" name="Rectangle: Top Corners Rounded 82">
                <a:extLst>
                  <a:ext uri="{FF2B5EF4-FFF2-40B4-BE49-F238E27FC236}">
                    <a16:creationId xmlns:a16="http://schemas.microsoft.com/office/drawing/2014/main" id="{C2D9C463-2D7B-4B73-9292-277873B0D9C7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Rectangle: Top Corners Rounded 83">
                <a:extLst>
                  <a:ext uri="{FF2B5EF4-FFF2-40B4-BE49-F238E27FC236}">
                    <a16:creationId xmlns:a16="http://schemas.microsoft.com/office/drawing/2014/main" id="{0EE219E3-9199-4C31-A43C-3E91A3E49DA9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C581041-F834-4D85-9B28-46EBF7B51596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00B1A3E0-9D5A-47E2-8EFD-06972183A758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7ECD1AD2-9EA9-457E-B675-F1EC07F3138F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38734299-9D49-49E9-B326-D9137D909143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77C6B17E-82EB-4222-BD61-78B9587A5811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04AC5795-F784-4E70-8C58-8DE355C80D03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48E3C2B3-EFB9-4662-A180-C3A571D87800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79F4F850-3391-4241-BE86-4D33EE9457FF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7EE94720-0AF1-4357-B8D5-23C20202DC95}"/>
                </a:ext>
              </a:extLst>
            </p:cNvPr>
            <p:cNvSpPr/>
            <p:nvPr userDrawn="1"/>
          </p:nvSpPr>
          <p:spPr>
            <a:xfrm>
              <a:off x="7728746" y="837813"/>
              <a:ext cx="1162393" cy="1065190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9CA44E7B-692C-40F6-8B4C-B5CB1803D2CE}"/>
                </a:ext>
              </a:extLst>
            </p:cNvPr>
            <p:cNvSpPr/>
            <p:nvPr userDrawn="1"/>
          </p:nvSpPr>
          <p:spPr>
            <a:xfrm>
              <a:off x="7548886" y="1653708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15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401C85DF-517D-4818-B624-F039DCF32CB9}"/>
                </a:ext>
              </a:extLst>
            </p:cNvPr>
            <p:cNvSpPr/>
            <p:nvPr userDrawn="1"/>
          </p:nvSpPr>
          <p:spPr>
            <a:xfrm>
              <a:off x="317089" y="391730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E079FB0F-2E61-4781-97A8-D41A27D2D8F7}"/>
                </a:ext>
              </a:extLst>
            </p:cNvPr>
            <p:cNvGrpSpPr/>
            <p:nvPr userDrawn="1"/>
          </p:nvGrpSpPr>
          <p:grpSpPr>
            <a:xfrm>
              <a:off x="565829" y="712444"/>
              <a:ext cx="6973489" cy="2067177"/>
              <a:chOff x="-6255456" y="862020"/>
              <a:chExt cx="6973489" cy="2067177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6C078611-63CB-491B-B8AA-0B8BA5CA889F}"/>
                  </a:ext>
                </a:extLst>
              </p:cNvPr>
              <p:cNvSpPr/>
              <p:nvPr userDrawn="1"/>
            </p:nvSpPr>
            <p:spPr>
              <a:xfrm>
                <a:off x="361298" y="2720664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4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58BFC2A8-6A29-4478-A218-7FA2B681E39E}"/>
                  </a:ext>
                </a:extLst>
              </p:cNvPr>
              <p:cNvSpPr/>
              <p:nvPr userDrawn="1"/>
            </p:nvSpPr>
            <p:spPr>
              <a:xfrm>
                <a:off x="490471" y="2589978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8AF6E614-E243-47E3-BE86-AF3ECE579FD7}"/>
                  </a:ext>
                </a:extLst>
              </p:cNvPr>
              <p:cNvSpPr/>
              <p:nvPr userDrawn="1"/>
            </p:nvSpPr>
            <p:spPr>
              <a:xfrm>
                <a:off x="-6255456" y="862020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06BEF2CB-CA82-4E7C-BAF6-3E314BA5ED20}"/>
                </a:ext>
              </a:extLst>
            </p:cNvPr>
            <p:cNvSpPr/>
            <p:nvPr userDrawn="1"/>
          </p:nvSpPr>
          <p:spPr>
            <a:xfrm>
              <a:off x="4044730" y="1194647"/>
              <a:ext cx="138367" cy="135616"/>
            </a:xfrm>
            <a:prstGeom prst="roundRect">
              <a:avLst>
                <a:gd name="adj" fmla="val 24179"/>
              </a:avLst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0C83B8EC-009F-4B4A-90A7-B92D80A505BE}"/>
                </a:ext>
              </a:extLst>
            </p:cNvPr>
            <p:cNvSpPr/>
            <p:nvPr userDrawn="1"/>
          </p:nvSpPr>
          <p:spPr>
            <a:xfrm>
              <a:off x="7897238" y="3106680"/>
              <a:ext cx="138367" cy="126797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2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04A7036-5B44-42B7-966C-B0FF1CF7BDFA}"/>
                </a:ext>
              </a:extLst>
            </p:cNvPr>
            <p:cNvGrpSpPr/>
            <p:nvPr userDrawn="1"/>
          </p:nvGrpSpPr>
          <p:grpSpPr>
            <a:xfrm flipH="1">
              <a:off x="-11688" y="592243"/>
              <a:ext cx="9167375" cy="47005"/>
              <a:chOff x="-2" y="4268790"/>
              <a:chExt cx="9167375" cy="47005"/>
            </a:xfrm>
          </p:grpSpPr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id="{BE893962-00AD-4326-B5D9-6102F6B30598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Rectangle: Top Corners Rounded 70">
                <a:extLst>
                  <a:ext uri="{FF2B5EF4-FFF2-40B4-BE49-F238E27FC236}">
                    <a16:creationId xmlns:a16="http://schemas.microsoft.com/office/drawing/2014/main" id="{AFB8A1B6-0F78-4738-BC4F-1B7488ED4088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66815D7-D9A8-4BE3-A498-2D774EC5E2BA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13EC61EA-18EA-4B81-B8F0-E7368A056B13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11B24DD3-B389-4208-91EC-3A3814BAFFCB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B7B1FFDC-F643-40BE-8468-9725F8D6C771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E5EE4C3A-3FD5-4DE1-AA88-44C4A85014D2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B1562EEE-F250-481F-A686-BB8D3F291D2A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FDAF47BC-F8FC-48FF-8F8C-5056D93BEC83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63A5196B-659A-449B-82EA-3296DED56E5D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id="{76A52E9F-5B7B-41FC-B16A-57E2C4BF4115}"/>
                </a:ext>
              </a:extLst>
            </p:cNvPr>
            <p:cNvSpPr/>
            <p:nvPr userDrawn="1"/>
          </p:nvSpPr>
          <p:spPr>
            <a:xfrm rot="5400000">
              <a:off x="2640683" y="-1083883"/>
              <a:ext cx="1484008" cy="6774682"/>
            </a:xfrm>
            <a:prstGeom prst="round2SameRect">
              <a:avLst>
                <a:gd name="adj1" fmla="val 10249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0D1F6480-9AA2-481F-BF5E-E537B795E7BF}"/>
                </a:ext>
              </a:extLst>
            </p:cNvPr>
            <p:cNvSpPr/>
            <p:nvPr userDrawn="1"/>
          </p:nvSpPr>
          <p:spPr>
            <a:xfrm>
              <a:off x="6162867" y="356575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2" y="2123633"/>
            <a:ext cx="8284205" cy="1337767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2" y="3568191"/>
            <a:ext cx="8284205" cy="661856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31 March 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9938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3F25DEB1-9082-41D4-925C-113F57199754}" type="datetime3">
              <a:rPr lang="en-US" smtClean="0"/>
              <a:t>31 March 2025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700a8faa-b58a-4b99-819f-a7f3960b569f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2751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5F5319-D51F-4DBA-A0E1-97AB58098185}" type="datetime3">
              <a:rPr lang="en-US" smtClean="0"/>
              <a:t>31 March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351">
              <a:latin typeface="Apis For Office" panose="020B0504010101010104" pitchFamily="34" charset="0"/>
            </a:endParaRPr>
          </a:p>
        </p:txBody>
      </p:sp>
      <p:sp>
        <p:nvSpPr>
          <p:cNvPr id="6" name="Tagline" descr="{&quot;templafy&quot;:{&quot;id&quot;:&quot;8b7bd7f1-2abb-4aba-8fa3-6bed6534d10c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1426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CA27F7B4-F98D-4CAF-BB7C-3984BBCDBD89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48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1DA9E50-1993-6FFC-2D5A-56DEE3529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9C54FB3-2D31-F85C-DF2C-489CCACB44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3EC3AD9-30CE-5B81-46C6-C68D76538A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21C0212-3C06-9C6D-ADB0-AB5DC834D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16B9F08-C220-61DF-5155-20DFEE524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C49CBAD-5374-3DB8-0111-C1E06D438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6079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01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871100-7668-411B-B68C-7B09658A607B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>
                <a:solidFill>
                  <a:schemeClr val="bg1"/>
                </a:solidFill>
                <a:latin typeface="Apis For Office" panose="020B0504010101010104" pitchFamily="34" charset="0"/>
              </a:rPr>
              <a:t>Agenda</a:t>
            </a:r>
          </a:p>
        </p:txBody>
      </p:sp>
      <p:sp>
        <p:nvSpPr>
          <p:cNvPr id="5" name="Tagline" descr="{&quot;templafy&quot;:{&quot;id&quot;:&quot;a6a0294e-5049-4413-9e6f-1ecdf818f736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2790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323624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756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A96055-F41A-411B-AC3E-55CE92C9BB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1630133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151187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6E89B-F1B0-48A4-8827-107446FBFBCE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4135721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31 March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9290310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21A7-F4E2-460A-A8FB-942CCEE5185E}" type="datetime3">
              <a:rPr lang="en-US" smtClean="0"/>
              <a:t>31 March 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1319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EE2340-579E-4220-A93B-3AFD39A8D022}" type="datetime3">
              <a:rPr lang="en-US" smtClean="0"/>
              <a:t>31 March 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833776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DC46D-D10D-4B61-A892-8C0001048907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  <p:sp>
        <p:nvSpPr>
          <p:cNvPr id="4" name="Tagline" descr="{&quot;templafy&quot;:{&quot;id&quot;:&quot;173913be-1100-48d2-aff0-9c93648545a2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1633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65D2-4706-45DF-B68A-6AB31D8D1B2D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787655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52468-20E3-462E-9717-778AD7EDB57C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683200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582F4C9-BD59-E232-C7A4-F0895E5FE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159CA6C-8E09-1E98-6D7E-D332AD0A31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1C35781-E9CA-7930-9056-66EFDB7B60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9889D5AC-B4EA-FB0B-2A3F-5552AC361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560FB2C-EDA1-11C5-ACE5-2460CA468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FB8A043-1E85-76FF-AB69-2E32E795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70090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D752CB-4586-4ED8-8DDC-9B3317D94291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9724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5D3A1-1237-4E3F-81F8-A718F0128939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219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F3AB-868B-4293-B3DE-7B045891B11B}" type="datetime3">
              <a:rPr lang="en-US" smtClean="0"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6372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  <a:latin typeface="Apis For Office" panose="020B0504010101010104" pitchFamily="34" charset="0"/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If you see any </a:t>
            </a:r>
            <a:r>
              <a:rPr lang="en-GB" sz="44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layouts after this </a:t>
            </a:r>
            <a:r>
              <a:rPr lang="en-GB" sz="4400" b="0" i="0" noProof="0">
                <a:solidFill>
                  <a:schemeClr val="bg1"/>
                </a:solidFill>
                <a:latin typeface="Apis For Office" panose="020B0504010101010104" pitchFamily="34" charset="0"/>
              </a:rPr>
              <a:t>one</a:t>
            </a:r>
            <a:r>
              <a:rPr lang="en-GB" sz="44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,</a:t>
            </a:r>
            <a:br>
              <a:rPr lang="en-GB" sz="4400" b="0" i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do not use them. These layouts </a:t>
            </a:r>
            <a:r>
              <a:rPr lang="en-GB" sz="4400" b="1" i="1" u="none" noProof="0">
                <a:solidFill>
                  <a:schemeClr val="bg1"/>
                </a:solidFill>
                <a:latin typeface="Apis For Office" panose="020B0504010101010104" pitchFamily="34" charset="0"/>
              </a:rPr>
              <a:t>are not </a:t>
            </a: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br>
              <a:rPr lang="en-GB" sz="2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2800" b="0" noProof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Do not use </a:t>
            </a:r>
            <a:endParaRPr lang="en-GB" sz="2400" b="1" i="1">
              <a:latin typeface="Apis For Office" panose="020B0504010101010104" pitchFamily="34" charset="0"/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1800" b="0" noProof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F65B27A-09D4-4045-A1E1-7A255ABBF5A9}" type="datetime3">
              <a:rPr lang="en-US" smtClean="0"/>
              <a:t>31 March 2025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969495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E041C0BA-34B2-4E53-98B1-5DF02B255F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2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973934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706194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23356" y="6019899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/>
              <a:t>Reference</a:t>
            </a:r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id="{511C5657-CE8B-4E35-A4DF-CC134804A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09487"/>
            <a:ext cx="12192001" cy="48654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C1E3701-DED0-4985-AB18-8992814566DA}"/>
              </a:ext>
            </a:extLst>
          </p:cNvPr>
          <p:cNvGrpSpPr/>
          <p:nvPr userDrawn="1"/>
        </p:nvGrpSpPr>
        <p:grpSpPr>
          <a:xfrm>
            <a:off x="10645304" y="5581707"/>
            <a:ext cx="1279789" cy="929189"/>
            <a:chOff x="7983978" y="4186280"/>
            <a:chExt cx="959842" cy="696892"/>
          </a:xfrm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9B218A25-6A87-47B7-A079-F869E70337C2}"/>
                </a:ext>
              </a:extLst>
            </p:cNvPr>
            <p:cNvGrpSpPr/>
            <p:nvPr userDrawn="1"/>
          </p:nvGrpSpPr>
          <p:grpSpPr>
            <a:xfrm rot="21057248">
              <a:off x="7983978" y="4186280"/>
              <a:ext cx="598849" cy="338677"/>
              <a:chOff x="3925596" y="3102305"/>
              <a:chExt cx="1061639" cy="600407"/>
            </a:xfrm>
          </p:grpSpPr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1870F5C4-739E-4C9C-AF68-1728FF7D45A9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BDD48BE0-C559-4C2F-A393-F30E7618598A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77216F4F-7C6B-4E67-9D75-DEC8765060E2}"/>
                </a:ext>
              </a:extLst>
            </p:cNvPr>
            <p:cNvGrpSpPr/>
            <p:nvPr userDrawn="1"/>
          </p:nvGrpSpPr>
          <p:grpSpPr>
            <a:xfrm rot="2701796">
              <a:off x="8534965" y="4410195"/>
              <a:ext cx="522316" cy="295394"/>
              <a:chOff x="3925596" y="3102305"/>
              <a:chExt cx="1061639" cy="600407"/>
            </a:xfrm>
          </p:grpSpPr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DA607A84-025E-4337-8CA5-96DB72F9BFCE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007C92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6176D660-C691-4E15-AC04-E9757CD47781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090122C7-1C2C-457B-A890-1F1F601C0AD4}"/>
                </a:ext>
              </a:extLst>
            </p:cNvPr>
            <p:cNvGrpSpPr/>
            <p:nvPr userDrawn="1"/>
          </p:nvGrpSpPr>
          <p:grpSpPr>
            <a:xfrm rot="18904393">
              <a:off x="8249788" y="4675033"/>
              <a:ext cx="368031" cy="208139"/>
              <a:chOff x="3925596" y="3102305"/>
              <a:chExt cx="1061639" cy="600407"/>
            </a:xfrm>
          </p:grpSpPr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43D3CFEB-360E-456A-9FE5-A156E0698BBD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72B5CC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DA4C7121-1C62-4C33-A0A5-D474FA4B59A2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6A181B69-CB8D-4DAD-AF6F-80BA5A3B7901}"/>
              </a:ext>
            </a:extLst>
          </p:cNvPr>
          <p:cNvSpPr txBox="1"/>
          <p:nvPr userDrawn="1"/>
        </p:nvSpPr>
        <p:spPr>
          <a:xfrm>
            <a:off x="745066" y="4110204"/>
            <a:ext cx="10701869" cy="1655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CA" sz="5333" b="1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E41ED8-2D13-4B3E-B415-71ADF40E0573}"/>
              </a:ext>
            </a:extLst>
          </p:cNvPr>
          <p:cNvSpPr/>
          <p:nvPr userDrawn="1"/>
        </p:nvSpPr>
        <p:spPr>
          <a:xfrm>
            <a:off x="0" y="0"/>
            <a:ext cx="12192000" cy="381003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0000">
                <a:schemeClr val="bg1">
                  <a:alpha val="10000"/>
                </a:schemeClr>
              </a:gs>
              <a:gs pos="59000">
                <a:schemeClr val="bg1">
                  <a:alpha val="50000"/>
                </a:schemeClr>
              </a:gs>
              <a:gs pos="91000">
                <a:schemeClr val="bg1">
                  <a:alpha val="8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89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2FB8311-43F9-419F-9FE3-E1D7801A1F9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45066" y="1392472"/>
            <a:ext cx="10701869" cy="1937489"/>
          </a:xfrm>
        </p:spPr>
        <p:txBody>
          <a:bodyPr tIns="57575" anchor="b"/>
          <a:lstStyle>
            <a:lvl1pPr algn="l">
              <a:lnSpc>
                <a:spcPct val="90000"/>
              </a:lnSpc>
              <a:defRPr sz="6400" spc="-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5AB618-3B81-4D6E-BF4D-FF98D6A8875F}"/>
              </a:ext>
            </a:extLst>
          </p:cNvPr>
          <p:cNvCxnSpPr>
            <a:cxnSpLocks/>
          </p:cNvCxnSpPr>
          <p:nvPr userDrawn="1"/>
        </p:nvCxnSpPr>
        <p:spPr>
          <a:xfrm>
            <a:off x="-1" y="3471727"/>
            <a:ext cx="11579423" cy="0"/>
          </a:xfrm>
          <a:prstGeom prst="line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AAB4F1E0-69A7-42D9-9BF6-5E933A26C55F}"/>
              </a:ext>
            </a:extLst>
          </p:cNvPr>
          <p:cNvCxnSpPr>
            <a:cxnSpLocks/>
          </p:cNvCxnSpPr>
          <p:nvPr userDrawn="1"/>
        </p:nvCxnSpPr>
        <p:spPr>
          <a:xfrm>
            <a:off x="-2" y="3566244"/>
            <a:ext cx="11737019" cy="0"/>
          </a:xfrm>
          <a:prstGeom prst="line">
            <a:avLst/>
          </a:prstGeom>
          <a:ln w="381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6DBC1E5-8E02-4635-BBB6-C0E75048B10B}"/>
              </a:ext>
            </a:extLst>
          </p:cNvPr>
          <p:cNvCxnSpPr>
            <a:cxnSpLocks/>
          </p:cNvCxnSpPr>
          <p:nvPr userDrawn="1"/>
        </p:nvCxnSpPr>
        <p:spPr>
          <a:xfrm>
            <a:off x="-1" y="3660761"/>
            <a:ext cx="11894615" cy="0"/>
          </a:xfrm>
          <a:prstGeom prst="line">
            <a:avLst/>
          </a:prstGeom>
          <a:ln w="38100" cap="rnd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22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1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5650921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w/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2401" y="6099934"/>
            <a:ext cx="10122383" cy="497417"/>
          </a:xfrm>
        </p:spPr>
        <p:txBody>
          <a:bodyPr anchor="b" anchorCtr="0">
            <a:noAutofit/>
          </a:bodyPr>
          <a:lstStyle>
            <a:lvl1pPr marL="0" indent="0">
              <a:buNone/>
              <a:defRPr sz="1067">
                <a:solidFill>
                  <a:srgbClr val="82786F"/>
                </a:solidFill>
              </a:defRPr>
            </a:lvl1pPr>
            <a:lvl2pPr marL="721749" indent="0">
              <a:buNone/>
              <a:defRPr/>
            </a:lvl2pPr>
            <a:lvl3pPr marL="1435028" indent="0">
              <a:buNone/>
              <a:defRPr/>
            </a:lvl3pPr>
            <a:lvl4pPr marL="2154659" indent="0">
              <a:buNone/>
              <a:defRPr/>
            </a:lvl4pPr>
            <a:lvl5pPr marL="287428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269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55.xml"/><Relationship Id="rId21" Type="http://schemas.openxmlformats.org/officeDocument/2006/relationships/slideLayout" Target="../slideLayouts/slideLayout33.xml"/><Relationship Id="rId42" Type="http://schemas.openxmlformats.org/officeDocument/2006/relationships/slideLayout" Target="../slideLayouts/slideLayout54.xml"/><Relationship Id="rId63" Type="http://schemas.openxmlformats.org/officeDocument/2006/relationships/tags" Target="../tags/tag1.xml"/><Relationship Id="rId84" Type="http://schemas.openxmlformats.org/officeDocument/2006/relationships/tags" Target="../tags/tag22.xml"/><Relationship Id="rId138" Type="http://schemas.openxmlformats.org/officeDocument/2006/relationships/tags" Target="../tags/tag76.xml"/><Relationship Id="rId107" Type="http://schemas.openxmlformats.org/officeDocument/2006/relationships/tags" Target="../tags/tag45.xml"/><Relationship Id="rId11" Type="http://schemas.openxmlformats.org/officeDocument/2006/relationships/slideLayout" Target="../slideLayouts/slideLayout23.xml"/><Relationship Id="rId32" Type="http://schemas.openxmlformats.org/officeDocument/2006/relationships/slideLayout" Target="../slideLayouts/slideLayout44.xml"/><Relationship Id="rId53" Type="http://schemas.openxmlformats.org/officeDocument/2006/relationships/slideLayout" Target="../slideLayouts/slideLayout65.xml"/><Relationship Id="rId74" Type="http://schemas.openxmlformats.org/officeDocument/2006/relationships/tags" Target="../tags/tag12.xml"/><Relationship Id="rId128" Type="http://schemas.openxmlformats.org/officeDocument/2006/relationships/tags" Target="../tags/tag66.xml"/><Relationship Id="rId149" Type="http://schemas.openxmlformats.org/officeDocument/2006/relationships/tags" Target="../tags/tag87.xml"/><Relationship Id="rId5" Type="http://schemas.openxmlformats.org/officeDocument/2006/relationships/slideLayout" Target="../slideLayouts/slideLayout17.xml"/><Relationship Id="rId95" Type="http://schemas.openxmlformats.org/officeDocument/2006/relationships/tags" Target="../tags/tag33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64" Type="http://schemas.openxmlformats.org/officeDocument/2006/relationships/tags" Target="../tags/tag2.xml"/><Relationship Id="rId69" Type="http://schemas.openxmlformats.org/officeDocument/2006/relationships/tags" Target="../tags/tag7.xml"/><Relationship Id="rId113" Type="http://schemas.openxmlformats.org/officeDocument/2006/relationships/tags" Target="../tags/tag51.xml"/><Relationship Id="rId118" Type="http://schemas.openxmlformats.org/officeDocument/2006/relationships/tags" Target="../tags/tag56.xml"/><Relationship Id="rId134" Type="http://schemas.openxmlformats.org/officeDocument/2006/relationships/tags" Target="../tags/tag72.xml"/><Relationship Id="rId139" Type="http://schemas.openxmlformats.org/officeDocument/2006/relationships/tags" Target="../tags/tag77.xml"/><Relationship Id="rId80" Type="http://schemas.openxmlformats.org/officeDocument/2006/relationships/tags" Target="../tags/tag18.xml"/><Relationship Id="rId85" Type="http://schemas.openxmlformats.org/officeDocument/2006/relationships/tags" Target="../tags/tag23.xml"/><Relationship Id="rId150" Type="http://schemas.openxmlformats.org/officeDocument/2006/relationships/tags" Target="../tags/tag88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59" Type="http://schemas.openxmlformats.org/officeDocument/2006/relationships/slideLayout" Target="../slideLayouts/slideLayout71.xml"/><Relationship Id="rId103" Type="http://schemas.openxmlformats.org/officeDocument/2006/relationships/tags" Target="../tags/tag41.xml"/><Relationship Id="rId108" Type="http://schemas.openxmlformats.org/officeDocument/2006/relationships/tags" Target="../tags/tag46.xml"/><Relationship Id="rId124" Type="http://schemas.openxmlformats.org/officeDocument/2006/relationships/tags" Target="../tags/tag62.xml"/><Relationship Id="rId129" Type="http://schemas.openxmlformats.org/officeDocument/2006/relationships/tags" Target="../tags/tag67.xml"/><Relationship Id="rId54" Type="http://schemas.openxmlformats.org/officeDocument/2006/relationships/slideLayout" Target="../slideLayouts/slideLayout66.xml"/><Relationship Id="rId70" Type="http://schemas.openxmlformats.org/officeDocument/2006/relationships/tags" Target="../tags/tag8.xml"/><Relationship Id="rId75" Type="http://schemas.openxmlformats.org/officeDocument/2006/relationships/tags" Target="../tags/tag13.xml"/><Relationship Id="rId91" Type="http://schemas.openxmlformats.org/officeDocument/2006/relationships/tags" Target="../tags/tag29.xml"/><Relationship Id="rId96" Type="http://schemas.openxmlformats.org/officeDocument/2006/relationships/tags" Target="../tags/tag34.xml"/><Relationship Id="rId140" Type="http://schemas.openxmlformats.org/officeDocument/2006/relationships/tags" Target="../tags/tag78.xml"/><Relationship Id="rId145" Type="http://schemas.openxmlformats.org/officeDocument/2006/relationships/tags" Target="../tags/tag8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49" Type="http://schemas.openxmlformats.org/officeDocument/2006/relationships/slideLayout" Target="../slideLayouts/slideLayout61.xml"/><Relationship Id="rId114" Type="http://schemas.openxmlformats.org/officeDocument/2006/relationships/tags" Target="../tags/tag52.xml"/><Relationship Id="rId119" Type="http://schemas.openxmlformats.org/officeDocument/2006/relationships/tags" Target="../tags/tag57.xml"/><Relationship Id="rId44" Type="http://schemas.openxmlformats.org/officeDocument/2006/relationships/slideLayout" Target="../slideLayouts/slideLayout56.xml"/><Relationship Id="rId60" Type="http://schemas.openxmlformats.org/officeDocument/2006/relationships/slideLayout" Target="../slideLayouts/slideLayout72.xml"/><Relationship Id="rId65" Type="http://schemas.openxmlformats.org/officeDocument/2006/relationships/tags" Target="../tags/tag3.xml"/><Relationship Id="rId81" Type="http://schemas.openxmlformats.org/officeDocument/2006/relationships/tags" Target="../tags/tag19.xml"/><Relationship Id="rId86" Type="http://schemas.openxmlformats.org/officeDocument/2006/relationships/tags" Target="../tags/tag24.xml"/><Relationship Id="rId130" Type="http://schemas.openxmlformats.org/officeDocument/2006/relationships/tags" Target="../tags/tag68.xml"/><Relationship Id="rId135" Type="http://schemas.openxmlformats.org/officeDocument/2006/relationships/tags" Target="../tags/tag73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51.xml"/><Relationship Id="rId109" Type="http://schemas.openxmlformats.org/officeDocument/2006/relationships/tags" Target="../tags/tag47.xml"/><Relationship Id="rId34" Type="http://schemas.openxmlformats.org/officeDocument/2006/relationships/slideLayout" Target="../slideLayouts/slideLayout46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Relationship Id="rId76" Type="http://schemas.openxmlformats.org/officeDocument/2006/relationships/tags" Target="../tags/tag14.xml"/><Relationship Id="rId97" Type="http://schemas.openxmlformats.org/officeDocument/2006/relationships/tags" Target="../tags/tag35.xml"/><Relationship Id="rId104" Type="http://schemas.openxmlformats.org/officeDocument/2006/relationships/tags" Target="../tags/tag42.xml"/><Relationship Id="rId120" Type="http://schemas.openxmlformats.org/officeDocument/2006/relationships/tags" Target="../tags/tag58.xml"/><Relationship Id="rId125" Type="http://schemas.openxmlformats.org/officeDocument/2006/relationships/tags" Target="../tags/tag63.xml"/><Relationship Id="rId141" Type="http://schemas.openxmlformats.org/officeDocument/2006/relationships/tags" Target="../tags/tag79.xml"/><Relationship Id="rId146" Type="http://schemas.openxmlformats.org/officeDocument/2006/relationships/tags" Target="../tags/tag84.xml"/><Relationship Id="rId7" Type="http://schemas.openxmlformats.org/officeDocument/2006/relationships/slideLayout" Target="../slideLayouts/slideLayout19.xml"/><Relationship Id="rId71" Type="http://schemas.openxmlformats.org/officeDocument/2006/relationships/tags" Target="../tags/tag9.xml"/><Relationship Id="rId92" Type="http://schemas.openxmlformats.org/officeDocument/2006/relationships/tags" Target="../tags/tag30.xml"/><Relationship Id="rId2" Type="http://schemas.openxmlformats.org/officeDocument/2006/relationships/slideLayout" Target="../slideLayouts/slideLayout14.xml"/><Relationship Id="rId29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36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66" Type="http://schemas.openxmlformats.org/officeDocument/2006/relationships/tags" Target="../tags/tag4.xml"/><Relationship Id="rId87" Type="http://schemas.openxmlformats.org/officeDocument/2006/relationships/tags" Target="../tags/tag25.xml"/><Relationship Id="rId110" Type="http://schemas.openxmlformats.org/officeDocument/2006/relationships/tags" Target="../tags/tag48.xml"/><Relationship Id="rId115" Type="http://schemas.openxmlformats.org/officeDocument/2006/relationships/tags" Target="../tags/tag53.xml"/><Relationship Id="rId131" Type="http://schemas.openxmlformats.org/officeDocument/2006/relationships/tags" Target="../tags/tag69.xml"/><Relationship Id="rId136" Type="http://schemas.openxmlformats.org/officeDocument/2006/relationships/tags" Target="../tags/tag74.xml"/><Relationship Id="rId61" Type="http://schemas.openxmlformats.org/officeDocument/2006/relationships/slideLayout" Target="../slideLayouts/slideLayout73.xml"/><Relationship Id="rId82" Type="http://schemas.openxmlformats.org/officeDocument/2006/relationships/tags" Target="../tags/tag20.xml"/><Relationship Id="rId1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26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56" Type="http://schemas.openxmlformats.org/officeDocument/2006/relationships/slideLayout" Target="../slideLayouts/slideLayout68.xml"/><Relationship Id="rId77" Type="http://schemas.openxmlformats.org/officeDocument/2006/relationships/tags" Target="../tags/tag15.xml"/><Relationship Id="rId100" Type="http://schemas.openxmlformats.org/officeDocument/2006/relationships/tags" Target="../tags/tag38.xml"/><Relationship Id="rId105" Type="http://schemas.openxmlformats.org/officeDocument/2006/relationships/tags" Target="../tags/tag43.xml"/><Relationship Id="rId126" Type="http://schemas.openxmlformats.org/officeDocument/2006/relationships/tags" Target="../tags/tag64.xml"/><Relationship Id="rId147" Type="http://schemas.openxmlformats.org/officeDocument/2006/relationships/tags" Target="../tags/tag85.xml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72" Type="http://schemas.openxmlformats.org/officeDocument/2006/relationships/tags" Target="../tags/tag10.xml"/><Relationship Id="rId93" Type="http://schemas.openxmlformats.org/officeDocument/2006/relationships/tags" Target="../tags/tag31.xml"/><Relationship Id="rId98" Type="http://schemas.openxmlformats.org/officeDocument/2006/relationships/tags" Target="../tags/tag36.xml"/><Relationship Id="rId121" Type="http://schemas.openxmlformats.org/officeDocument/2006/relationships/tags" Target="../tags/tag59.xml"/><Relationship Id="rId142" Type="http://schemas.openxmlformats.org/officeDocument/2006/relationships/tags" Target="../tags/tag80.xml"/><Relationship Id="rId3" Type="http://schemas.openxmlformats.org/officeDocument/2006/relationships/slideLayout" Target="../slideLayouts/slideLayout15.xml"/><Relationship Id="rId25" Type="http://schemas.openxmlformats.org/officeDocument/2006/relationships/slideLayout" Target="../slideLayouts/slideLayout37.xml"/><Relationship Id="rId46" Type="http://schemas.openxmlformats.org/officeDocument/2006/relationships/slideLayout" Target="../slideLayouts/slideLayout58.xml"/><Relationship Id="rId67" Type="http://schemas.openxmlformats.org/officeDocument/2006/relationships/tags" Target="../tags/tag5.xml"/><Relationship Id="rId116" Type="http://schemas.openxmlformats.org/officeDocument/2006/relationships/tags" Target="../tags/tag54.xml"/><Relationship Id="rId137" Type="http://schemas.openxmlformats.org/officeDocument/2006/relationships/tags" Target="../tags/tag75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62" Type="http://schemas.openxmlformats.org/officeDocument/2006/relationships/theme" Target="../theme/theme2.xml"/><Relationship Id="rId83" Type="http://schemas.openxmlformats.org/officeDocument/2006/relationships/tags" Target="../tags/tag21.xml"/><Relationship Id="rId88" Type="http://schemas.openxmlformats.org/officeDocument/2006/relationships/tags" Target="../tags/tag26.xml"/><Relationship Id="rId111" Type="http://schemas.openxmlformats.org/officeDocument/2006/relationships/tags" Target="../tags/tag49.xml"/><Relationship Id="rId132" Type="http://schemas.openxmlformats.org/officeDocument/2006/relationships/tags" Target="../tags/tag70.xml"/><Relationship Id="rId15" Type="http://schemas.openxmlformats.org/officeDocument/2006/relationships/slideLayout" Target="../slideLayouts/slideLayout27.xml"/><Relationship Id="rId36" Type="http://schemas.openxmlformats.org/officeDocument/2006/relationships/slideLayout" Target="../slideLayouts/slideLayout48.xml"/><Relationship Id="rId57" Type="http://schemas.openxmlformats.org/officeDocument/2006/relationships/slideLayout" Target="../slideLayouts/slideLayout69.xml"/><Relationship Id="rId106" Type="http://schemas.openxmlformats.org/officeDocument/2006/relationships/tags" Target="../tags/tag44.xml"/><Relationship Id="rId127" Type="http://schemas.openxmlformats.org/officeDocument/2006/relationships/tags" Target="../tags/tag65.xml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52" Type="http://schemas.openxmlformats.org/officeDocument/2006/relationships/slideLayout" Target="../slideLayouts/slideLayout64.xml"/><Relationship Id="rId73" Type="http://schemas.openxmlformats.org/officeDocument/2006/relationships/tags" Target="../tags/tag11.xml"/><Relationship Id="rId78" Type="http://schemas.openxmlformats.org/officeDocument/2006/relationships/tags" Target="../tags/tag16.xml"/><Relationship Id="rId94" Type="http://schemas.openxmlformats.org/officeDocument/2006/relationships/tags" Target="../tags/tag32.xml"/><Relationship Id="rId99" Type="http://schemas.openxmlformats.org/officeDocument/2006/relationships/tags" Target="../tags/tag37.xml"/><Relationship Id="rId101" Type="http://schemas.openxmlformats.org/officeDocument/2006/relationships/tags" Target="../tags/tag39.xml"/><Relationship Id="rId122" Type="http://schemas.openxmlformats.org/officeDocument/2006/relationships/tags" Target="../tags/tag60.xml"/><Relationship Id="rId143" Type="http://schemas.openxmlformats.org/officeDocument/2006/relationships/tags" Target="../tags/tag81.xml"/><Relationship Id="rId148" Type="http://schemas.openxmlformats.org/officeDocument/2006/relationships/tags" Target="../tags/tag8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38.xml"/><Relationship Id="rId47" Type="http://schemas.openxmlformats.org/officeDocument/2006/relationships/slideLayout" Target="../slideLayouts/slideLayout59.xml"/><Relationship Id="rId68" Type="http://schemas.openxmlformats.org/officeDocument/2006/relationships/tags" Target="../tags/tag6.xml"/><Relationship Id="rId89" Type="http://schemas.openxmlformats.org/officeDocument/2006/relationships/tags" Target="../tags/tag27.xml"/><Relationship Id="rId112" Type="http://schemas.openxmlformats.org/officeDocument/2006/relationships/tags" Target="../tags/tag50.xml"/><Relationship Id="rId133" Type="http://schemas.openxmlformats.org/officeDocument/2006/relationships/tags" Target="../tags/tag71.xml"/><Relationship Id="rId16" Type="http://schemas.openxmlformats.org/officeDocument/2006/relationships/slideLayout" Target="../slideLayouts/slideLayout28.xml"/><Relationship Id="rId37" Type="http://schemas.openxmlformats.org/officeDocument/2006/relationships/slideLayout" Target="../slideLayouts/slideLayout49.xml"/><Relationship Id="rId58" Type="http://schemas.openxmlformats.org/officeDocument/2006/relationships/slideLayout" Target="../slideLayouts/slideLayout70.xml"/><Relationship Id="rId79" Type="http://schemas.openxmlformats.org/officeDocument/2006/relationships/tags" Target="../tags/tag17.xml"/><Relationship Id="rId102" Type="http://schemas.openxmlformats.org/officeDocument/2006/relationships/tags" Target="../tags/tag40.xml"/><Relationship Id="rId123" Type="http://schemas.openxmlformats.org/officeDocument/2006/relationships/tags" Target="../tags/tag61.xml"/><Relationship Id="rId144" Type="http://schemas.openxmlformats.org/officeDocument/2006/relationships/tags" Target="../tags/tag82.xml"/><Relationship Id="rId90" Type="http://schemas.openxmlformats.org/officeDocument/2006/relationships/tags" Target="../tags/tag28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9.xml"/><Relationship Id="rId117" Type="http://schemas.openxmlformats.org/officeDocument/2006/relationships/tags" Target="../tags/tag173.xml"/><Relationship Id="rId21" Type="http://schemas.openxmlformats.org/officeDocument/2006/relationships/slideLayout" Target="../slideLayouts/slideLayout94.xml"/><Relationship Id="rId42" Type="http://schemas.openxmlformats.org/officeDocument/2006/relationships/tags" Target="../tags/tag98.xml"/><Relationship Id="rId47" Type="http://schemas.openxmlformats.org/officeDocument/2006/relationships/tags" Target="../tags/tag103.xml"/><Relationship Id="rId63" Type="http://schemas.openxmlformats.org/officeDocument/2006/relationships/tags" Target="../tags/tag119.xml"/><Relationship Id="rId68" Type="http://schemas.openxmlformats.org/officeDocument/2006/relationships/tags" Target="../tags/tag124.xml"/><Relationship Id="rId84" Type="http://schemas.openxmlformats.org/officeDocument/2006/relationships/tags" Target="../tags/tag140.xml"/><Relationship Id="rId89" Type="http://schemas.openxmlformats.org/officeDocument/2006/relationships/tags" Target="../tags/tag145.xml"/><Relationship Id="rId112" Type="http://schemas.openxmlformats.org/officeDocument/2006/relationships/tags" Target="../tags/tag168.xml"/><Relationship Id="rId16" Type="http://schemas.openxmlformats.org/officeDocument/2006/relationships/slideLayout" Target="../slideLayouts/slideLayout89.xml"/><Relationship Id="rId107" Type="http://schemas.openxmlformats.org/officeDocument/2006/relationships/tags" Target="../tags/tag163.xml"/><Relationship Id="rId11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105.xml"/><Relationship Id="rId37" Type="http://schemas.openxmlformats.org/officeDocument/2006/relationships/tags" Target="../tags/tag93.xml"/><Relationship Id="rId53" Type="http://schemas.openxmlformats.org/officeDocument/2006/relationships/tags" Target="../tags/tag109.xml"/><Relationship Id="rId58" Type="http://schemas.openxmlformats.org/officeDocument/2006/relationships/tags" Target="../tags/tag114.xml"/><Relationship Id="rId74" Type="http://schemas.openxmlformats.org/officeDocument/2006/relationships/tags" Target="../tags/tag130.xml"/><Relationship Id="rId79" Type="http://schemas.openxmlformats.org/officeDocument/2006/relationships/tags" Target="../tags/tag135.xml"/><Relationship Id="rId102" Type="http://schemas.openxmlformats.org/officeDocument/2006/relationships/tags" Target="../tags/tag158.xml"/><Relationship Id="rId123" Type="http://schemas.openxmlformats.org/officeDocument/2006/relationships/tags" Target="../tags/tag179.xml"/><Relationship Id="rId5" Type="http://schemas.openxmlformats.org/officeDocument/2006/relationships/slideLayout" Target="../slideLayouts/slideLayout78.xml"/><Relationship Id="rId90" Type="http://schemas.openxmlformats.org/officeDocument/2006/relationships/tags" Target="../tags/tag146.xml"/><Relationship Id="rId95" Type="http://schemas.openxmlformats.org/officeDocument/2006/relationships/tags" Target="../tags/tag151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43" Type="http://schemas.openxmlformats.org/officeDocument/2006/relationships/tags" Target="../tags/tag99.xml"/><Relationship Id="rId48" Type="http://schemas.openxmlformats.org/officeDocument/2006/relationships/tags" Target="../tags/tag104.xml"/><Relationship Id="rId64" Type="http://schemas.openxmlformats.org/officeDocument/2006/relationships/tags" Target="../tags/tag120.xml"/><Relationship Id="rId69" Type="http://schemas.openxmlformats.org/officeDocument/2006/relationships/tags" Target="../tags/tag125.xml"/><Relationship Id="rId113" Type="http://schemas.openxmlformats.org/officeDocument/2006/relationships/tags" Target="../tags/tag169.xml"/><Relationship Id="rId118" Type="http://schemas.openxmlformats.org/officeDocument/2006/relationships/tags" Target="../tags/tag174.xml"/><Relationship Id="rId80" Type="http://schemas.openxmlformats.org/officeDocument/2006/relationships/tags" Target="../tags/tag136.xml"/><Relationship Id="rId85" Type="http://schemas.openxmlformats.org/officeDocument/2006/relationships/tags" Target="../tags/tag141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106.xml"/><Relationship Id="rId38" Type="http://schemas.openxmlformats.org/officeDocument/2006/relationships/tags" Target="../tags/tag94.xml"/><Relationship Id="rId59" Type="http://schemas.openxmlformats.org/officeDocument/2006/relationships/tags" Target="../tags/tag115.xml"/><Relationship Id="rId103" Type="http://schemas.openxmlformats.org/officeDocument/2006/relationships/tags" Target="../tags/tag159.xml"/><Relationship Id="rId108" Type="http://schemas.openxmlformats.org/officeDocument/2006/relationships/tags" Target="../tags/tag164.xml"/><Relationship Id="rId124" Type="http://schemas.openxmlformats.org/officeDocument/2006/relationships/tags" Target="../tags/tag180.xml"/><Relationship Id="rId54" Type="http://schemas.openxmlformats.org/officeDocument/2006/relationships/tags" Target="../tags/tag110.xml"/><Relationship Id="rId70" Type="http://schemas.openxmlformats.org/officeDocument/2006/relationships/tags" Target="../tags/tag126.xml"/><Relationship Id="rId75" Type="http://schemas.openxmlformats.org/officeDocument/2006/relationships/tags" Target="../tags/tag131.xml"/><Relationship Id="rId91" Type="http://schemas.openxmlformats.org/officeDocument/2006/relationships/tags" Target="../tags/tag147.xml"/><Relationship Id="rId96" Type="http://schemas.openxmlformats.org/officeDocument/2006/relationships/tags" Target="../tags/tag15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49" Type="http://schemas.openxmlformats.org/officeDocument/2006/relationships/tags" Target="../tags/tag105.xml"/><Relationship Id="rId114" Type="http://schemas.openxmlformats.org/officeDocument/2006/relationships/tags" Target="../tags/tag170.xml"/><Relationship Id="rId119" Type="http://schemas.openxmlformats.org/officeDocument/2006/relationships/tags" Target="../tags/tag175.xml"/><Relationship Id="rId44" Type="http://schemas.openxmlformats.org/officeDocument/2006/relationships/tags" Target="../tags/tag100.xml"/><Relationship Id="rId60" Type="http://schemas.openxmlformats.org/officeDocument/2006/relationships/tags" Target="../tags/tag116.xml"/><Relationship Id="rId65" Type="http://schemas.openxmlformats.org/officeDocument/2006/relationships/tags" Target="../tags/tag121.xml"/><Relationship Id="rId81" Type="http://schemas.openxmlformats.org/officeDocument/2006/relationships/tags" Target="../tags/tag137.xml"/><Relationship Id="rId86" Type="http://schemas.openxmlformats.org/officeDocument/2006/relationships/tags" Target="../tags/tag14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9" Type="http://schemas.openxmlformats.org/officeDocument/2006/relationships/tags" Target="../tags/tag95.xml"/><Relationship Id="rId109" Type="http://schemas.openxmlformats.org/officeDocument/2006/relationships/tags" Target="../tags/tag165.xml"/><Relationship Id="rId34" Type="http://schemas.openxmlformats.org/officeDocument/2006/relationships/slideLayout" Target="../slideLayouts/slideLayout107.xml"/><Relationship Id="rId50" Type="http://schemas.openxmlformats.org/officeDocument/2006/relationships/tags" Target="../tags/tag106.xml"/><Relationship Id="rId55" Type="http://schemas.openxmlformats.org/officeDocument/2006/relationships/tags" Target="../tags/tag111.xml"/><Relationship Id="rId76" Type="http://schemas.openxmlformats.org/officeDocument/2006/relationships/tags" Target="../tags/tag132.xml"/><Relationship Id="rId97" Type="http://schemas.openxmlformats.org/officeDocument/2006/relationships/tags" Target="../tags/tag153.xml"/><Relationship Id="rId104" Type="http://schemas.openxmlformats.org/officeDocument/2006/relationships/tags" Target="../tags/tag160.xml"/><Relationship Id="rId120" Type="http://schemas.openxmlformats.org/officeDocument/2006/relationships/tags" Target="../tags/tag176.xml"/><Relationship Id="rId7" Type="http://schemas.openxmlformats.org/officeDocument/2006/relationships/slideLayout" Target="../slideLayouts/slideLayout80.xml"/><Relationship Id="rId71" Type="http://schemas.openxmlformats.org/officeDocument/2006/relationships/tags" Target="../tags/tag127.xml"/><Relationship Id="rId92" Type="http://schemas.openxmlformats.org/officeDocument/2006/relationships/tags" Target="../tags/tag148.xml"/><Relationship Id="rId2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97.xml"/><Relationship Id="rId40" Type="http://schemas.openxmlformats.org/officeDocument/2006/relationships/tags" Target="../tags/tag96.xml"/><Relationship Id="rId45" Type="http://schemas.openxmlformats.org/officeDocument/2006/relationships/tags" Target="../tags/tag101.xml"/><Relationship Id="rId66" Type="http://schemas.openxmlformats.org/officeDocument/2006/relationships/tags" Target="../tags/tag122.xml"/><Relationship Id="rId87" Type="http://schemas.openxmlformats.org/officeDocument/2006/relationships/tags" Target="../tags/tag143.xml"/><Relationship Id="rId110" Type="http://schemas.openxmlformats.org/officeDocument/2006/relationships/tags" Target="../tags/tag166.xml"/><Relationship Id="rId115" Type="http://schemas.openxmlformats.org/officeDocument/2006/relationships/tags" Target="../tags/tag171.xml"/><Relationship Id="rId61" Type="http://schemas.openxmlformats.org/officeDocument/2006/relationships/tags" Target="../tags/tag117.xml"/><Relationship Id="rId82" Type="http://schemas.openxmlformats.org/officeDocument/2006/relationships/tags" Target="../tags/tag138.xml"/><Relationship Id="rId1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56" Type="http://schemas.openxmlformats.org/officeDocument/2006/relationships/tags" Target="../tags/tag112.xml"/><Relationship Id="rId77" Type="http://schemas.openxmlformats.org/officeDocument/2006/relationships/tags" Target="../tags/tag133.xml"/><Relationship Id="rId100" Type="http://schemas.openxmlformats.org/officeDocument/2006/relationships/tags" Target="../tags/tag156.xml"/><Relationship Id="rId105" Type="http://schemas.openxmlformats.org/officeDocument/2006/relationships/tags" Target="../tags/tag161.xml"/><Relationship Id="rId8" Type="http://schemas.openxmlformats.org/officeDocument/2006/relationships/slideLayout" Target="../slideLayouts/slideLayout81.xml"/><Relationship Id="rId51" Type="http://schemas.openxmlformats.org/officeDocument/2006/relationships/tags" Target="../tags/tag107.xml"/><Relationship Id="rId72" Type="http://schemas.openxmlformats.org/officeDocument/2006/relationships/tags" Target="../tags/tag128.xml"/><Relationship Id="rId93" Type="http://schemas.openxmlformats.org/officeDocument/2006/relationships/tags" Target="../tags/tag149.xml"/><Relationship Id="rId98" Type="http://schemas.openxmlformats.org/officeDocument/2006/relationships/tags" Target="../tags/tag154.xml"/><Relationship Id="rId121" Type="http://schemas.openxmlformats.org/officeDocument/2006/relationships/tags" Target="../tags/tag177.xml"/><Relationship Id="rId3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98.xml"/><Relationship Id="rId46" Type="http://schemas.openxmlformats.org/officeDocument/2006/relationships/tags" Target="../tags/tag102.xml"/><Relationship Id="rId67" Type="http://schemas.openxmlformats.org/officeDocument/2006/relationships/tags" Target="../tags/tag123.xml"/><Relationship Id="rId116" Type="http://schemas.openxmlformats.org/officeDocument/2006/relationships/tags" Target="../tags/tag172.xml"/><Relationship Id="rId20" Type="http://schemas.openxmlformats.org/officeDocument/2006/relationships/slideLayout" Target="../slideLayouts/slideLayout93.xml"/><Relationship Id="rId41" Type="http://schemas.openxmlformats.org/officeDocument/2006/relationships/tags" Target="../tags/tag97.xml"/><Relationship Id="rId62" Type="http://schemas.openxmlformats.org/officeDocument/2006/relationships/tags" Target="../tags/tag118.xml"/><Relationship Id="rId83" Type="http://schemas.openxmlformats.org/officeDocument/2006/relationships/tags" Target="../tags/tag139.xml"/><Relationship Id="rId88" Type="http://schemas.openxmlformats.org/officeDocument/2006/relationships/tags" Target="../tags/tag144.xml"/><Relationship Id="rId111" Type="http://schemas.openxmlformats.org/officeDocument/2006/relationships/tags" Target="../tags/tag167.xml"/><Relationship Id="rId15" Type="http://schemas.openxmlformats.org/officeDocument/2006/relationships/slideLayout" Target="../slideLayouts/slideLayout88.xml"/><Relationship Id="rId36" Type="http://schemas.openxmlformats.org/officeDocument/2006/relationships/theme" Target="../theme/theme3.xml"/><Relationship Id="rId57" Type="http://schemas.openxmlformats.org/officeDocument/2006/relationships/tags" Target="../tags/tag113.xml"/><Relationship Id="rId106" Type="http://schemas.openxmlformats.org/officeDocument/2006/relationships/tags" Target="../tags/tag162.xml"/><Relationship Id="rId10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104.xml"/><Relationship Id="rId52" Type="http://schemas.openxmlformats.org/officeDocument/2006/relationships/tags" Target="../tags/tag108.xml"/><Relationship Id="rId73" Type="http://schemas.openxmlformats.org/officeDocument/2006/relationships/tags" Target="../tags/tag129.xml"/><Relationship Id="rId78" Type="http://schemas.openxmlformats.org/officeDocument/2006/relationships/tags" Target="../tags/tag134.xml"/><Relationship Id="rId94" Type="http://schemas.openxmlformats.org/officeDocument/2006/relationships/tags" Target="../tags/tag150.xml"/><Relationship Id="rId99" Type="http://schemas.openxmlformats.org/officeDocument/2006/relationships/tags" Target="../tags/tag155.xml"/><Relationship Id="rId101" Type="http://schemas.openxmlformats.org/officeDocument/2006/relationships/tags" Target="../tags/tag157.xml"/><Relationship Id="rId122" Type="http://schemas.openxmlformats.org/officeDocument/2006/relationships/tags" Target="../tags/tag178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tags" Target="../tags/tag199.xml"/><Relationship Id="rId21" Type="http://schemas.openxmlformats.org/officeDocument/2006/relationships/tags" Target="../tags/tag194.xml"/><Relationship Id="rId42" Type="http://schemas.openxmlformats.org/officeDocument/2006/relationships/tags" Target="../tags/tag215.xml"/><Relationship Id="rId47" Type="http://schemas.openxmlformats.org/officeDocument/2006/relationships/tags" Target="../tags/tag220.xml"/><Relationship Id="rId63" Type="http://schemas.openxmlformats.org/officeDocument/2006/relationships/tags" Target="../tags/tag236.xml"/><Relationship Id="rId68" Type="http://schemas.openxmlformats.org/officeDocument/2006/relationships/tags" Target="../tags/tag241.xml"/><Relationship Id="rId84" Type="http://schemas.openxmlformats.org/officeDocument/2006/relationships/tags" Target="../tags/tag257.xml"/><Relationship Id="rId89" Type="http://schemas.openxmlformats.org/officeDocument/2006/relationships/tags" Target="../tags/tag262.xml"/><Relationship Id="rId16" Type="http://schemas.openxmlformats.org/officeDocument/2006/relationships/tags" Target="../tags/tag189.xml"/><Relationship Id="rId11" Type="http://schemas.openxmlformats.org/officeDocument/2006/relationships/tags" Target="../tags/tag184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53" Type="http://schemas.openxmlformats.org/officeDocument/2006/relationships/tags" Target="../tags/tag226.xml"/><Relationship Id="rId58" Type="http://schemas.openxmlformats.org/officeDocument/2006/relationships/tags" Target="../tags/tag231.xml"/><Relationship Id="rId74" Type="http://schemas.openxmlformats.org/officeDocument/2006/relationships/tags" Target="../tags/tag247.xml"/><Relationship Id="rId79" Type="http://schemas.openxmlformats.org/officeDocument/2006/relationships/tags" Target="../tags/tag252.xml"/><Relationship Id="rId5" Type="http://schemas.openxmlformats.org/officeDocument/2006/relationships/slideLayout" Target="../slideLayouts/slideLayout113.xml"/><Relationship Id="rId90" Type="http://schemas.openxmlformats.org/officeDocument/2006/relationships/tags" Target="../tags/tag263.xml"/><Relationship Id="rId95" Type="http://schemas.openxmlformats.org/officeDocument/2006/relationships/tags" Target="../tags/tag268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43" Type="http://schemas.openxmlformats.org/officeDocument/2006/relationships/tags" Target="../tags/tag216.xml"/><Relationship Id="rId48" Type="http://schemas.openxmlformats.org/officeDocument/2006/relationships/tags" Target="../tags/tag221.xml"/><Relationship Id="rId64" Type="http://schemas.openxmlformats.org/officeDocument/2006/relationships/tags" Target="../tags/tag237.xml"/><Relationship Id="rId69" Type="http://schemas.openxmlformats.org/officeDocument/2006/relationships/tags" Target="../tags/tag242.xml"/><Relationship Id="rId8" Type="http://schemas.openxmlformats.org/officeDocument/2006/relationships/tags" Target="../tags/tag181.xml"/><Relationship Id="rId51" Type="http://schemas.openxmlformats.org/officeDocument/2006/relationships/tags" Target="../tags/tag224.xml"/><Relationship Id="rId72" Type="http://schemas.openxmlformats.org/officeDocument/2006/relationships/tags" Target="../tags/tag245.xml"/><Relationship Id="rId80" Type="http://schemas.openxmlformats.org/officeDocument/2006/relationships/tags" Target="../tags/tag253.xml"/><Relationship Id="rId85" Type="http://schemas.openxmlformats.org/officeDocument/2006/relationships/tags" Target="../tags/tag258.xml"/><Relationship Id="rId93" Type="http://schemas.openxmlformats.org/officeDocument/2006/relationships/tags" Target="../tags/tag266.xml"/><Relationship Id="rId3" Type="http://schemas.openxmlformats.org/officeDocument/2006/relationships/slideLayout" Target="../slideLayouts/slideLayout111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46" Type="http://schemas.openxmlformats.org/officeDocument/2006/relationships/tags" Target="../tags/tag219.xml"/><Relationship Id="rId59" Type="http://schemas.openxmlformats.org/officeDocument/2006/relationships/tags" Target="../tags/tag232.xml"/><Relationship Id="rId67" Type="http://schemas.openxmlformats.org/officeDocument/2006/relationships/tags" Target="../tags/tag240.xml"/><Relationship Id="rId20" Type="http://schemas.openxmlformats.org/officeDocument/2006/relationships/tags" Target="../tags/tag193.xml"/><Relationship Id="rId41" Type="http://schemas.openxmlformats.org/officeDocument/2006/relationships/tags" Target="../tags/tag214.xml"/><Relationship Id="rId54" Type="http://schemas.openxmlformats.org/officeDocument/2006/relationships/tags" Target="../tags/tag227.xml"/><Relationship Id="rId62" Type="http://schemas.openxmlformats.org/officeDocument/2006/relationships/tags" Target="../tags/tag235.xml"/><Relationship Id="rId70" Type="http://schemas.openxmlformats.org/officeDocument/2006/relationships/tags" Target="../tags/tag243.xml"/><Relationship Id="rId75" Type="http://schemas.openxmlformats.org/officeDocument/2006/relationships/tags" Target="../tags/tag248.xml"/><Relationship Id="rId83" Type="http://schemas.openxmlformats.org/officeDocument/2006/relationships/tags" Target="../tags/tag256.xml"/><Relationship Id="rId88" Type="http://schemas.openxmlformats.org/officeDocument/2006/relationships/tags" Target="../tags/tag261.xml"/><Relationship Id="rId91" Type="http://schemas.openxmlformats.org/officeDocument/2006/relationships/tags" Target="../tags/tag264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49" Type="http://schemas.openxmlformats.org/officeDocument/2006/relationships/tags" Target="../tags/tag222.xml"/><Relationship Id="rId57" Type="http://schemas.openxmlformats.org/officeDocument/2006/relationships/tags" Target="../tags/tag230.xml"/><Relationship Id="rId10" Type="http://schemas.openxmlformats.org/officeDocument/2006/relationships/tags" Target="../tags/tag183.xml"/><Relationship Id="rId31" Type="http://schemas.openxmlformats.org/officeDocument/2006/relationships/tags" Target="../tags/tag204.xml"/><Relationship Id="rId44" Type="http://schemas.openxmlformats.org/officeDocument/2006/relationships/tags" Target="../tags/tag217.xml"/><Relationship Id="rId52" Type="http://schemas.openxmlformats.org/officeDocument/2006/relationships/tags" Target="../tags/tag225.xml"/><Relationship Id="rId60" Type="http://schemas.openxmlformats.org/officeDocument/2006/relationships/tags" Target="../tags/tag233.xml"/><Relationship Id="rId65" Type="http://schemas.openxmlformats.org/officeDocument/2006/relationships/tags" Target="../tags/tag238.xml"/><Relationship Id="rId73" Type="http://schemas.openxmlformats.org/officeDocument/2006/relationships/tags" Target="../tags/tag246.xml"/><Relationship Id="rId78" Type="http://schemas.openxmlformats.org/officeDocument/2006/relationships/tags" Target="../tags/tag251.xml"/><Relationship Id="rId81" Type="http://schemas.openxmlformats.org/officeDocument/2006/relationships/tags" Target="../tags/tag254.xml"/><Relationship Id="rId86" Type="http://schemas.openxmlformats.org/officeDocument/2006/relationships/tags" Target="../tags/tag259.xml"/><Relationship Id="rId94" Type="http://schemas.openxmlformats.org/officeDocument/2006/relationships/tags" Target="../tags/tag267.xml"/><Relationship Id="rId4" Type="http://schemas.openxmlformats.org/officeDocument/2006/relationships/slideLayout" Target="../slideLayouts/slideLayout112.xml"/><Relationship Id="rId9" Type="http://schemas.openxmlformats.org/officeDocument/2006/relationships/tags" Target="../tags/tag182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39" Type="http://schemas.openxmlformats.org/officeDocument/2006/relationships/tags" Target="../tags/tag212.xml"/><Relationship Id="rId34" Type="http://schemas.openxmlformats.org/officeDocument/2006/relationships/tags" Target="../tags/tag207.xml"/><Relationship Id="rId50" Type="http://schemas.openxmlformats.org/officeDocument/2006/relationships/tags" Target="../tags/tag223.xml"/><Relationship Id="rId55" Type="http://schemas.openxmlformats.org/officeDocument/2006/relationships/tags" Target="../tags/tag228.xml"/><Relationship Id="rId76" Type="http://schemas.openxmlformats.org/officeDocument/2006/relationships/tags" Target="../tags/tag249.xml"/><Relationship Id="rId7" Type="http://schemas.openxmlformats.org/officeDocument/2006/relationships/theme" Target="../theme/theme4.xml"/><Relationship Id="rId71" Type="http://schemas.openxmlformats.org/officeDocument/2006/relationships/tags" Target="../tags/tag244.xml"/><Relationship Id="rId92" Type="http://schemas.openxmlformats.org/officeDocument/2006/relationships/tags" Target="../tags/tag265.xml"/><Relationship Id="rId2" Type="http://schemas.openxmlformats.org/officeDocument/2006/relationships/slideLayout" Target="../slideLayouts/slideLayout110.xml"/><Relationship Id="rId29" Type="http://schemas.openxmlformats.org/officeDocument/2006/relationships/tags" Target="../tags/tag202.xml"/><Relationship Id="rId24" Type="http://schemas.openxmlformats.org/officeDocument/2006/relationships/tags" Target="../tags/tag197.xml"/><Relationship Id="rId40" Type="http://schemas.openxmlformats.org/officeDocument/2006/relationships/tags" Target="../tags/tag213.xml"/><Relationship Id="rId45" Type="http://schemas.openxmlformats.org/officeDocument/2006/relationships/tags" Target="../tags/tag218.xml"/><Relationship Id="rId66" Type="http://schemas.openxmlformats.org/officeDocument/2006/relationships/tags" Target="../tags/tag239.xml"/><Relationship Id="rId87" Type="http://schemas.openxmlformats.org/officeDocument/2006/relationships/tags" Target="../tags/tag260.xml"/><Relationship Id="rId61" Type="http://schemas.openxmlformats.org/officeDocument/2006/relationships/tags" Target="../tags/tag234.xml"/><Relationship Id="rId82" Type="http://schemas.openxmlformats.org/officeDocument/2006/relationships/tags" Target="../tags/tag255.xml"/><Relationship Id="rId19" Type="http://schemas.openxmlformats.org/officeDocument/2006/relationships/tags" Target="../tags/tag192.xml"/><Relationship Id="rId14" Type="http://schemas.openxmlformats.org/officeDocument/2006/relationships/tags" Target="../tags/tag187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56" Type="http://schemas.openxmlformats.org/officeDocument/2006/relationships/tags" Target="../tags/tag229.xml"/><Relationship Id="rId77" Type="http://schemas.openxmlformats.org/officeDocument/2006/relationships/tags" Target="../tags/tag250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tags" Target="../tags/tag344.xml"/><Relationship Id="rId21" Type="http://schemas.openxmlformats.org/officeDocument/2006/relationships/slideLayout" Target="../slideLayouts/slideLayout135.xml"/><Relationship Id="rId42" Type="http://schemas.openxmlformats.org/officeDocument/2006/relationships/tags" Target="../tags/tag269.xml"/><Relationship Id="rId47" Type="http://schemas.openxmlformats.org/officeDocument/2006/relationships/tags" Target="../tags/tag274.xml"/><Relationship Id="rId63" Type="http://schemas.openxmlformats.org/officeDocument/2006/relationships/tags" Target="../tags/tag290.xml"/><Relationship Id="rId68" Type="http://schemas.openxmlformats.org/officeDocument/2006/relationships/tags" Target="../tags/tag295.xml"/><Relationship Id="rId84" Type="http://schemas.openxmlformats.org/officeDocument/2006/relationships/tags" Target="../tags/tag311.xml"/><Relationship Id="rId89" Type="http://schemas.openxmlformats.org/officeDocument/2006/relationships/tags" Target="../tags/tag316.xml"/><Relationship Id="rId112" Type="http://schemas.openxmlformats.org/officeDocument/2006/relationships/tags" Target="../tags/tag339.xml"/><Relationship Id="rId16" Type="http://schemas.openxmlformats.org/officeDocument/2006/relationships/slideLayout" Target="../slideLayouts/slideLayout130.xml"/><Relationship Id="rId107" Type="http://schemas.openxmlformats.org/officeDocument/2006/relationships/tags" Target="../tags/tag334.xml"/><Relationship Id="rId11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51.xml"/><Relationship Id="rId53" Type="http://schemas.openxmlformats.org/officeDocument/2006/relationships/tags" Target="../tags/tag280.xml"/><Relationship Id="rId58" Type="http://schemas.openxmlformats.org/officeDocument/2006/relationships/tags" Target="../tags/tag285.xml"/><Relationship Id="rId74" Type="http://schemas.openxmlformats.org/officeDocument/2006/relationships/tags" Target="../tags/tag301.xml"/><Relationship Id="rId79" Type="http://schemas.openxmlformats.org/officeDocument/2006/relationships/tags" Target="../tags/tag306.xml"/><Relationship Id="rId102" Type="http://schemas.openxmlformats.org/officeDocument/2006/relationships/tags" Target="../tags/tag329.xml"/><Relationship Id="rId123" Type="http://schemas.openxmlformats.org/officeDocument/2006/relationships/tags" Target="../tags/tag350.xml"/><Relationship Id="rId128" Type="http://schemas.openxmlformats.org/officeDocument/2006/relationships/tags" Target="../tags/tag355.xml"/><Relationship Id="rId5" Type="http://schemas.openxmlformats.org/officeDocument/2006/relationships/slideLayout" Target="../slideLayouts/slideLayout119.xml"/><Relationship Id="rId90" Type="http://schemas.openxmlformats.org/officeDocument/2006/relationships/tags" Target="../tags/tag317.xml"/><Relationship Id="rId95" Type="http://schemas.openxmlformats.org/officeDocument/2006/relationships/tags" Target="../tags/tag322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43" Type="http://schemas.openxmlformats.org/officeDocument/2006/relationships/tags" Target="../tags/tag270.xml"/><Relationship Id="rId48" Type="http://schemas.openxmlformats.org/officeDocument/2006/relationships/tags" Target="../tags/tag275.xml"/><Relationship Id="rId64" Type="http://schemas.openxmlformats.org/officeDocument/2006/relationships/tags" Target="../tags/tag291.xml"/><Relationship Id="rId69" Type="http://schemas.openxmlformats.org/officeDocument/2006/relationships/tags" Target="../tags/tag296.xml"/><Relationship Id="rId113" Type="http://schemas.openxmlformats.org/officeDocument/2006/relationships/tags" Target="../tags/tag340.xml"/><Relationship Id="rId118" Type="http://schemas.openxmlformats.org/officeDocument/2006/relationships/tags" Target="../tags/tag345.xml"/><Relationship Id="rId80" Type="http://schemas.openxmlformats.org/officeDocument/2006/relationships/tags" Target="../tags/tag307.xml"/><Relationship Id="rId85" Type="http://schemas.openxmlformats.org/officeDocument/2006/relationships/tags" Target="../tags/tag312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52.xml"/><Relationship Id="rId59" Type="http://schemas.openxmlformats.org/officeDocument/2006/relationships/tags" Target="../tags/tag286.xml"/><Relationship Id="rId103" Type="http://schemas.openxmlformats.org/officeDocument/2006/relationships/tags" Target="../tags/tag330.xml"/><Relationship Id="rId108" Type="http://schemas.openxmlformats.org/officeDocument/2006/relationships/tags" Target="../tags/tag335.xml"/><Relationship Id="rId124" Type="http://schemas.openxmlformats.org/officeDocument/2006/relationships/tags" Target="../tags/tag351.xml"/><Relationship Id="rId129" Type="http://schemas.openxmlformats.org/officeDocument/2006/relationships/tags" Target="../tags/tag356.xml"/><Relationship Id="rId54" Type="http://schemas.openxmlformats.org/officeDocument/2006/relationships/tags" Target="../tags/tag281.xml"/><Relationship Id="rId70" Type="http://schemas.openxmlformats.org/officeDocument/2006/relationships/tags" Target="../tags/tag297.xml"/><Relationship Id="rId75" Type="http://schemas.openxmlformats.org/officeDocument/2006/relationships/tags" Target="../tags/tag302.xml"/><Relationship Id="rId91" Type="http://schemas.openxmlformats.org/officeDocument/2006/relationships/tags" Target="../tags/tag318.xml"/><Relationship Id="rId96" Type="http://schemas.openxmlformats.org/officeDocument/2006/relationships/tags" Target="../tags/tag323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49" Type="http://schemas.openxmlformats.org/officeDocument/2006/relationships/tags" Target="../tags/tag276.xml"/><Relationship Id="rId114" Type="http://schemas.openxmlformats.org/officeDocument/2006/relationships/tags" Target="../tags/tag341.xml"/><Relationship Id="rId119" Type="http://schemas.openxmlformats.org/officeDocument/2006/relationships/tags" Target="../tags/tag346.xml"/><Relationship Id="rId44" Type="http://schemas.openxmlformats.org/officeDocument/2006/relationships/tags" Target="../tags/tag271.xml"/><Relationship Id="rId60" Type="http://schemas.openxmlformats.org/officeDocument/2006/relationships/tags" Target="../tags/tag287.xml"/><Relationship Id="rId65" Type="http://schemas.openxmlformats.org/officeDocument/2006/relationships/tags" Target="../tags/tag292.xml"/><Relationship Id="rId81" Type="http://schemas.openxmlformats.org/officeDocument/2006/relationships/tags" Target="../tags/tag308.xml"/><Relationship Id="rId86" Type="http://schemas.openxmlformats.org/officeDocument/2006/relationships/tags" Target="../tags/tag313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9" Type="http://schemas.openxmlformats.org/officeDocument/2006/relationships/slideLayout" Target="../slideLayouts/slideLayout153.xml"/><Relationship Id="rId109" Type="http://schemas.openxmlformats.org/officeDocument/2006/relationships/tags" Target="../tags/tag336.xml"/><Relationship Id="rId34" Type="http://schemas.openxmlformats.org/officeDocument/2006/relationships/slideLayout" Target="../slideLayouts/slideLayout148.xml"/><Relationship Id="rId50" Type="http://schemas.openxmlformats.org/officeDocument/2006/relationships/tags" Target="../tags/tag277.xml"/><Relationship Id="rId55" Type="http://schemas.openxmlformats.org/officeDocument/2006/relationships/tags" Target="../tags/tag282.xml"/><Relationship Id="rId76" Type="http://schemas.openxmlformats.org/officeDocument/2006/relationships/tags" Target="../tags/tag303.xml"/><Relationship Id="rId97" Type="http://schemas.openxmlformats.org/officeDocument/2006/relationships/tags" Target="../tags/tag324.xml"/><Relationship Id="rId104" Type="http://schemas.openxmlformats.org/officeDocument/2006/relationships/tags" Target="../tags/tag331.xml"/><Relationship Id="rId120" Type="http://schemas.openxmlformats.org/officeDocument/2006/relationships/tags" Target="../tags/tag347.xml"/><Relationship Id="rId125" Type="http://schemas.openxmlformats.org/officeDocument/2006/relationships/tags" Target="../tags/tag352.xml"/><Relationship Id="rId7" Type="http://schemas.openxmlformats.org/officeDocument/2006/relationships/slideLayout" Target="../slideLayouts/slideLayout121.xml"/><Relationship Id="rId71" Type="http://schemas.openxmlformats.org/officeDocument/2006/relationships/tags" Target="../tags/tag298.xml"/><Relationship Id="rId92" Type="http://schemas.openxmlformats.org/officeDocument/2006/relationships/tags" Target="../tags/tag319.xml"/><Relationship Id="rId2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54.xml"/><Relationship Id="rId45" Type="http://schemas.openxmlformats.org/officeDocument/2006/relationships/tags" Target="../tags/tag272.xml"/><Relationship Id="rId66" Type="http://schemas.openxmlformats.org/officeDocument/2006/relationships/tags" Target="../tags/tag293.xml"/><Relationship Id="rId87" Type="http://schemas.openxmlformats.org/officeDocument/2006/relationships/tags" Target="../tags/tag314.xml"/><Relationship Id="rId110" Type="http://schemas.openxmlformats.org/officeDocument/2006/relationships/tags" Target="../tags/tag337.xml"/><Relationship Id="rId115" Type="http://schemas.openxmlformats.org/officeDocument/2006/relationships/tags" Target="../tags/tag342.xml"/><Relationship Id="rId61" Type="http://schemas.openxmlformats.org/officeDocument/2006/relationships/tags" Target="../tags/tag288.xml"/><Relationship Id="rId82" Type="http://schemas.openxmlformats.org/officeDocument/2006/relationships/tags" Target="../tags/tag309.xml"/><Relationship Id="rId1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Relationship Id="rId56" Type="http://schemas.openxmlformats.org/officeDocument/2006/relationships/tags" Target="../tags/tag283.xml"/><Relationship Id="rId77" Type="http://schemas.openxmlformats.org/officeDocument/2006/relationships/tags" Target="../tags/tag304.xml"/><Relationship Id="rId100" Type="http://schemas.openxmlformats.org/officeDocument/2006/relationships/tags" Target="../tags/tag327.xml"/><Relationship Id="rId105" Type="http://schemas.openxmlformats.org/officeDocument/2006/relationships/tags" Target="../tags/tag332.xml"/><Relationship Id="rId126" Type="http://schemas.openxmlformats.org/officeDocument/2006/relationships/tags" Target="../tags/tag353.xml"/><Relationship Id="rId8" Type="http://schemas.openxmlformats.org/officeDocument/2006/relationships/slideLayout" Target="../slideLayouts/slideLayout122.xml"/><Relationship Id="rId51" Type="http://schemas.openxmlformats.org/officeDocument/2006/relationships/tags" Target="../tags/tag278.xml"/><Relationship Id="rId72" Type="http://schemas.openxmlformats.org/officeDocument/2006/relationships/tags" Target="../tags/tag299.xml"/><Relationship Id="rId93" Type="http://schemas.openxmlformats.org/officeDocument/2006/relationships/tags" Target="../tags/tag320.xml"/><Relationship Id="rId98" Type="http://schemas.openxmlformats.org/officeDocument/2006/relationships/tags" Target="../tags/tag325.xml"/><Relationship Id="rId121" Type="http://schemas.openxmlformats.org/officeDocument/2006/relationships/tags" Target="../tags/tag348.xml"/><Relationship Id="rId3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39.xml"/><Relationship Id="rId46" Type="http://schemas.openxmlformats.org/officeDocument/2006/relationships/tags" Target="../tags/tag273.xml"/><Relationship Id="rId67" Type="http://schemas.openxmlformats.org/officeDocument/2006/relationships/tags" Target="../tags/tag294.xml"/><Relationship Id="rId116" Type="http://schemas.openxmlformats.org/officeDocument/2006/relationships/tags" Target="../tags/tag343.xml"/><Relationship Id="rId20" Type="http://schemas.openxmlformats.org/officeDocument/2006/relationships/slideLayout" Target="../slideLayouts/slideLayout134.xml"/><Relationship Id="rId41" Type="http://schemas.openxmlformats.org/officeDocument/2006/relationships/theme" Target="../theme/theme5.xml"/><Relationship Id="rId62" Type="http://schemas.openxmlformats.org/officeDocument/2006/relationships/tags" Target="../tags/tag289.xml"/><Relationship Id="rId83" Type="http://schemas.openxmlformats.org/officeDocument/2006/relationships/tags" Target="../tags/tag310.xml"/><Relationship Id="rId88" Type="http://schemas.openxmlformats.org/officeDocument/2006/relationships/tags" Target="../tags/tag315.xml"/><Relationship Id="rId111" Type="http://schemas.openxmlformats.org/officeDocument/2006/relationships/tags" Target="../tags/tag338.xml"/><Relationship Id="rId15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50.xml"/><Relationship Id="rId57" Type="http://schemas.openxmlformats.org/officeDocument/2006/relationships/tags" Target="../tags/tag284.xml"/><Relationship Id="rId106" Type="http://schemas.openxmlformats.org/officeDocument/2006/relationships/tags" Target="../tags/tag333.xml"/><Relationship Id="rId127" Type="http://schemas.openxmlformats.org/officeDocument/2006/relationships/tags" Target="../tags/tag354.xml"/><Relationship Id="rId10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45.xml"/><Relationship Id="rId52" Type="http://schemas.openxmlformats.org/officeDocument/2006/relationships/tags" Target="../tags/tag279.xml"/><Relationship Id="rId73" Type="http://schemas.openxmlformats.org/officeDocument/2006/relationships/tags" Target="../tags/tag300.xml"/><Relationship Id="rId78" Type="http://schemas.openxmlformats.org/officeDocument/2006/relationships/tags" Target="../tags/tag305.xml"/><Relationship Id="rId94" Type="http://schemas.openxmlformats.org/officeDocument/2006/relationships/tags" Target="../tags/tag321.xml"/><Relationship Id="rId99" Type="http://schemas.openxmlformats.org/officeDocument/2006/relationships/tags" Target="../tags/tag326.xml"/><Relationship Id="rId101" Type="http://schemas.openxmlformats.org/officeDocument/2006/relationships/tags" Target="../tags/tag328.xml"/><Relationship Id="rId122" Type="http://schemas.openxmlformats.org/officeDocument/2006/relationships/tags" Target="../tags/tag349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9E5FDA4-6BB3-DB01-1F9E-61EFF172F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B6BE4D7-46FD-3B33-21F0-63FBC918D6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98EEB61-91BF-6EF0-CCC9-F2ACD6684A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0148E-80EA-4707-BC54-0BF4CCE74621}" type="datetimeFigureOut">
              <a:rPr lang="it-IT" smtClean="0"/>
              <a:t>3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44D12BD-FD43-B458-4D60-6A06674E1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01E569-0FC1-70CF-DF38-5D7CEDAEE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1046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F45C95C0-E583-43A5-B2DB-71602888E664}" type="datetime3">
              <a:rPr lang="en-US" smtClean="0"/>
              <a:t>31 March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70" y="324001"/>
            <a:ext cx="64849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45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46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47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48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49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50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975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</p:sldLayoutIdLst>
  <p:hf sldNum="0"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pos="1617">
          <p15:clr>
            <a:srgbClr val="F26B43"/>
          </p15:clr>
        </p15:guide>
        <p15:guide id="3" orient="horz" pos="2364">
          <p15:clr>
            <a:srgbClr val="F26B43"/>
          </p15:clr>
        </p15:guide>
        <p15:guide id="4" orient="horz" pos="2568">
          <p15:clr>
            <a:srgbClr val="F26B43"/>
          </p15:clr>
        </p15:guide>
        <p15:guide id="5" pos="3031">
          <p15:clr>
            <a:srgbClr val="F26B43"/>
          </p15:clr>
        </p15:guide>
        <p15:guide id="6" pos="3235">
          <p15:clr>
            <a:srgbClr val="F26B43"/>
          </p15:clr>
        </p15:guide>
        <p15:guide id="7" orient="horz" pos="3911">
          <p15:clr>
            <a:srgbClr val="F26B43"/>
          </p15:clr>
        </p15:guide>
        <p15:guide id="8" orient="horz" pos="4115">
          <p15:clr>
            <a:srgbClr val="F26B43"/>
          </p15:clr>
        </p15:guide>
        <p15:guide id="9" pos="6063">
          <p15:clr>
            <a:srgbClr val="F26B43"/>
          </p15:clr>
        </p15:guide>
        <p15:guide id="10" pos="7272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pos="4444">
          <p15:clr>
            <a:srgbClr val="F26B43"/>
          </p15:clr>
        </p15:guide>
        <p15:guide id="13" pos="4648">
          <p15:clr>
            <a:srgbClr val="F26B43"/>
          </p15:clr>
        </p15:guide>
        <p15:guide id="14" orient="horz" pos="204">
          <p15:clr>
            <a:srgbClr val="F26B43"/>
          </p15:clr>
        </p15:guide>
        <p15:guide id="15" orient="horz" pos="408">
          <p15:clr>
            <a:srgbClr val="F26B43"/>
          </p15:clr>
        </p15:guide>
        <p15:guide id="16" pos="1821">
          <p15:clr>
            <a:srgbClr val="F26B43"/>
          </p15:clr>
        </p15:guide>
        <p15:guide id="17" orient="horz" pos="1956">
          <p15:clr>
            <a:srgbClr val="F26B43"/>
          </p15:clr>
        </p15:guide>
        <p15:guide id="18" pos="5859">
          <p15:clr>
            <a:srgbClr val="F26B43"/>
          </p15:clr>
        </p15:guide>
        <p15:guide id="19" orient="horz" pos="1752">
          <p15:clr>
            <a:srgbClr val="F26B43"/>
          </p15:clr>
        </p15:guide>
        <p15:guide id="20" pos="7476">
          <p15:clr>
            <a:srgbClr val="F26B43"/>
          </p15:clr>
        </p15:guide>
        <p15:guide id="21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3849F413-F251-44C4-B7BA-891C8AB4F5BF}" type="datetime3">
              <a:rPr lang="en-US" smtClean="0"/>
              <a:pPr/>
              <a:t>31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5" name="Tagline" descr="{&quot;templafy&quot;:{&quot;id&quot;:&quot;1abbc6e5-7f90-4ec7-bd50-37662db4c5b8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328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57" r:id="rId35"/>
  </p:sldLayoutIdLst>
  <p:hf sldNum="0"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733" kern="1200">
          <a:solidFill>
            <a:schemeClr val="tx2"/>
          </a:solidFill>
          <a:latin typeface="Apis For Office" panose="020B0504010101010104" pitchFamily="34" charset="0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21415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4" r:id="rId5"/>
    <p:sldLayoutId id="2147483765" r:id="rId6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pos="1617">
          <p15:clr>
            <a:srgbClr val="F26B43"/>
          </p15:clr>
        </p15:guide>
        <p15:guide id="3" orient="horz" pos="2364">
          <p15:clr>
            <a:srgbClr val="F26B43"/>
          </p15:clr>
        </p15:guide>
        <p15:guide id="4" orient="horz" pos="2568">
          <p15:clr>
            <a:srgbClr val="F26B43"/>
          </p15:clr>
        </p15:guide>
        <p15:guide id="5" pos="3031">
          <p15:clr>
            <a:srgbClr val="F26B43"/>
          </p15:clr>
        </p15:guide>
        <p15:guide id="6" pos="3235">
          <p15:clr>
            <a:srgbClr val="F26B43"/>
          </p15:clr>
        </p15:guide>
        <p15:guide id="7" orient="horz" pos="3911">
          <p15:clr>
            <a:srgbClr val="F26B43"/>
          </p15:clr>
        </p15:guide>
        <p15:guide id="8" orient="horz" pos="4115">
          <p15:clr>
            <a:srgbClr val="F26B43"/>
          </p15:clr>
        </p15:guide>
        <p15:guide id="9" pos="6063">
          <p15:clr>
            <a:srgbClr val="F26B43"/>
          </p15:clr>
        </p15:guide>
        <p15:guide id="10" pos="7272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pos="4444">
          <p15:clr>
            <a:srgbClr val="F26B43"/>
          </p15:clr>
        </p15:guide>
        <p15:guide id="13" pos="4648">
          <p15:clr>
            <a:srgbClr val="F26B43"/>
          </p15:clr>
        </p15:guide>
        <p15:guide id="14" orient="horz" pos="204">
          <p15:clr>
            <a:srgbClr val="F26B43"/>
          </p15:clr>
        </p15:guide>
        <p15:guide id="15" orient="horz" pos="408">
          <p15:clr>
            <a:srgbClr val="F26B43"/>
          </p15:clr>
        </p15:guide>
        <p15:guide id="16" pos="1821">
          <p15:clr>
            <a:srgbClr val="F26B43"/>
          </p15:clr>
        </p15:guide>
        <p15:guide id="17" orient="horz" pos="1956">
          <p15:clr>
            <a:srgbClr val="F26B43"/>
          </p15:clr>
        </p15:guide>
        <p15:guide id="18" pos="5859">
          <p15:clr>
            <a:srgbClr val="F26B43"/>
          </p15:clr>
        </p15:guide>
        <p15:guide id="19" orient="horz" pos="1752">
          <p15:clr>
            <a:srgbClr val="F26B43"/>
          </p15:clr>
        </p15:guide>
        <p15:guide id="20" pos="7476">
          <p15:clr>
            <a:srgbClr val="F26B43"/>
          </p15:clr>
        </p15:guide>
        <p15:guide id="21" pos="2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28321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8" r:id="rId39"/>
    <p:sldLayoutId id="2147483849" r:id="rId4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A4A3A4"/>
          </p15:clr>
        </p15:guide>
        <p15:guide id="2" pos="1617">
          <p15:clr>
            <a:srgbClr val="A4A3A4"/>
          </p15:clr>
        </p15:guide>
        <p15:guide id="5" pos="3031">
          <p15:clr>
            <a:srgbClr val="A4A3A4"/>
          </p15:clr>
        </p15:guide>
        <p15:guide id="6" pos="3235">
          <p15:clr>
            <a:srgbClr val="A4A3A4"/>
          </p15:clr>
        </p15:guide>
        <p15:guide id="7" orient="horz" pos="3911">
          <p15:clr>
            <a:srgbClr val="A4A3A4"/>
          </p15:clr>
        </p15:guide>
        <p15:guide id="8" orient="horz" pos="4115">
          <p15:clr>
            <a:srgbClr val="A4A3A4"/>
          </p15:clr>
        </p15:guide>
        <p15:guide id="9" pos="6063">
          <p15:clr>
            <a:srgbClr val="A4A3A4"/>
          </p15:clr>
        </p15:guide>
        <p15:guide id="10" pos="7272">
          <p15:clr>
            <a:srgbClr val="A4A3A4"/>
          </p15:clr>
        </p15:guide>
        <p15:guide id="12" pos="4444">
          <p15:clr>
            <a:srgbClr val="A4A3A4"/>
          </p15:clr>
        </p15:guide>
        <p15:guide id="13" pos="4648">
          <p15:clr>
            <a:srgbClr val="A4A3A4"/>
          </p15:clr>
        </p15:guide>
        <p15:guide id="14" orient="horz" pos="204">
          <p15:clr>
            <a:srgbClr val="A4A3A4"/>
          </p15:clr>
        </p15:guide>
        <p15:guide id="15" orient="horz" pos="408">
          <p15:clr>
            <a:srgbClr val="A4A3A4"/>
          </p15:clr>
        </p15:guide>
        <p15:guide id="16" pos="1821">
          <p15:clr>
            <a:srgbClr val="A4A3A4"/>
          </p15:clr>
        </p15:guide>
        <p15:guide id="18" pos="5859">
          <p15:clr>
            <a:srgbClr val="A4A3A4"/>
          </p15:clr>
        </p15:guide>
        <p15:guide id="20" pos="7476">
          <p15:clr>
            <a:srgbClr val="A4A3A4"/>
          </p15:clr>
        </p15:guide>
        <p15:guide id="21" pos="20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438BBB1-0DD0-40CB-8E06-EB91C612B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23074"/>
            <a:ext cx="6528619" cy="3618271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891642CA-E6FA-47E8-BC4A-33A354A02D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5351" y="4780797"/>
            <a:ext cx="1743075" cy="112395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A76DC112-F3A7-460F-BFA1-90D1CDC890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6012" y="5114172"/>
            <a:ext cx="3028950" cy="45720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E301A673-5335-4179-B976-E090F22150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60134" y="4780797"/>
            <a:ext cx="1400175" cy="106680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6F4761F-7099-475A-823C-453E447265D4}"/>
              </a:ext>
            </a:extLst>
          </p:cNvPr>
          <p:cNvSpPr txBox="1"/>
          <p:nvPr/>
        </p:nvSpPr>
        <p:spPr>
          <a:xfrm>
            <a:off x="6096000" y="1286628"/>
            <a:ext cx="652861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4000" b="1" dirty="0">
                <a:solidFill>
                  <a:srgbClr val="0070C0"/>
                </a:solidFill>
              </a:rPr>
              <a:t>New generation OMM: </a:t>
            </a:r>
          </a:p>
          <a:p>
            <a:pPr algn="ctr"/>
            <a:r>
              <a:rPr lang="it-IT" sz="4000" b="1" dirty="0">
                <a:solidFill>
                  <a:srgbClr val="0070C0"/>
                </a:solidFill>
              </a:rPr>
              <a:t>side </a:t>
            </a:r>
            <a:r>
              <a:rPr lang="it-IT" sz="4000" b="1" dirty="0" err="1">
                <a:solidFill>
                  <a:srgbClr val="0070C0"/>
                </a:solidFill>
              </a:rPr>
              <a:t>effect</a:t>
            </a:r>
            <a:r>
              <a:rPr lang="it-IT" sz="4000" b="1" dirty="0">
                <a:solidFill>
                  <a:srgbClr val="0070C0"/>
                </a:solidFill>
              </a:rPr>
              <a:t> </a:t>
            </a:r>
            <a:r>
              <a:rPr lang="it-IT" sz="4000" b="1" dirty="0" err="1">
                <a:solidFill>
                  <a:srgbClr val="0070C0"/>
                </a:solidFill>
              </a:rPr>
              <a:t>profile</a:t>
            </a:r>
            <a:r>
              <a:rPr lang="it-IT" sz="4000" b="1" dirty="0">
                <a:solidFill>
                  <a:srgbClr val="0070C0"/>
                </a:solidFill>
              </a:rPr>
              <a:t> and </a:t>
            </a:r>
            <a:r>
              <a:rPr lang="it-IT" sz="4000" b="1" dirty="0" err="1">
                <a:solidFill>
                  <a:srgbClr val="0070C0"/>
                </a:solidFill>
              </a:rPr>
              <a:t>possible</a:t>
            </a:r>
            <a:r>
              <a:rPr lang="it-IT" sz="4000" b="1" dirty="0">
                <a:solidFill>
                  <a:srgbClr val="0070C0"/>
                </a:solidFill>
              </a:rPr>
              <a:t> interactions</a:t>
            </a:r>
          </a:p>
        </p:txBody>
      </p:sp>
    </p:spTree>
    <p:extLst>
      <p:ext uri="{BB962C8B-B14F-4D97-AF65-F5344CB8AC3E}">
        <p14:creationId xmlns:p14="http://schemas.microsoft.com/office/powerpoint/2010/main" val="1787548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ain graphic">
            <a:extLst>
              <a:ext uri="{FF2B5EF4-FFF2-40B4-BE49-F238E27FC236}">
                <a16:creationId xmlns:a16="http://schemas.microsoft.com/office/drawing/2014/main" id="{790AD286-D70B-625B-20AA-CA8AC7E9135C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2319025" y="133740"/>
            <a:ext cx="7286625" cy="6327360"/>
          </a:xfrm>
          <a:prstGeom prst="rect">
            <a:avLst/>
          </a:prstGeom>
          <a:ln>
            <a:noFill/>
          </a:ln>
        </p:spPr>
      </p:pic>
      <p:sp>
        <p:nvSpPr>
          <p:cNvPr id="4" name="TextShape 2">
            <a:extLst>
              <a:ext uri="{FF2B5EF4-FFF2-40B4-BE49-F238E27FC236}">
                <a16:creationId xmlns:a16="http://schemas.microsoft.com/office/drawing/2014/main" id="{7BEC9344-782E-4BB0-4D68-F12F937493AB}"/>
              </a:ext>
            </a:extLst>
          </p:cNvPr>
          <p:cNvSpPr txBox="1"/>
          <p:nvPr/>
        </p:nvSpPr>
        <p:spPr>
          <a:xfrm>
            <a:off x="952560" y="6477120"/>
            <a:ext cx="8254800" cy="2311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900" b="0" i="1" strike="noStrike" spc="-1">
                <a:solidFill>
                  <a:srgbClr val="FFFFFF"/>
                </a:solidFill>
                <a:latin typeface="Arial"/>
              </a:rPr>
              <a:t>The Lancet Regional Health – Europe</a:t>
            </a:r>
            <a:r>
              <a:rPr lang="en-US" sz="900" b="0" strike="noStrike" spc="-1">
                <a:solidFill>
                  <a:srgbClr val="FFFFFF"/>
                </a:solidFill>
                <a:latin typeface="Arial"/>
              </a:rPr>
              <a:t> 2024 47DOI: (10.1016/j.lanepe.2024.101100) 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D59F3E4-6A94-2107-721F-7160A0815254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79560" y="6064200"/>
            <a:ext cx="707760" cy="793800"/>
          </a:xfrm>
          <a:prstGeom prst="rect">
            <a:avLst/>
          </a:prstGeom>
          <a:ln>
            <a:noFill/>
          </a:ln>
        </p:spPr>
      </p:pic>
      <p:sp>
        <p:nvSpPr>
          <p:cNvPr id="7" name="TextShape 2">
            <a:extLst>
              <a:ext uri="{FF2B5EF4-FFF2-40B4-BE49-F238E27FC236}">
                <a16:creationId xmlns:a16="http://schemas.microsoft.com/office/drawing/2014/main" id="{8FE32948-70DE-8521-6908-1B3B67BADD7E}"/>
              </a:ext>
            </a:extLst>
          </p:cNvPr>
          <p:cNvSpPr txBox="1"/>
          <p:nvPr/>
        </p:nvSpPr>
        <p:spPr>
          <a:xfrm>
            <a:off x="1104960" y="6629520"/>
            <a:ext cx="8254800" cy="2311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900" b="0" i="1" strike="noStrike" spc="-1" dirty="0">
                <a:latin typeface="Arial"/>
              </a:rPr>
              <a:t>The Lancet Regional Health – Europe</a:t>
            </a:r>
            <a:r>
              <a:rPr lang="en-US" sz="900" b="0" strike="noStrike" spc="-1" dirty="0">
                <a:latin typeface="Arial"/>
              </a:rPr>
              <a:t> 2024 47DOI: (10.1016/j.lanepe.2024.101100) </a:t>
            </a:r>
          </a:p>
        </p:txBody>
      </p:sp>
    </p:spTree>
    <p:extLst>
      <p:ext uri="{BB962C8B-B14F-4D97-AF65-F5344CB8AC3E}">
        <p14:creationId xmlns:p14="http://schemas.microsoft.com/office/powerpoint/2010/main" val="1751358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27729" y="204638"/>
            <a:ext cx="10896000" cy="1296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1965"/>
                </a:solidFill>
              </a:rPr>
              <a:t>There is an unmet need for therapies that reduce </a:t>
            </a:r>
            <a:br>
              <a:rPr lang="en-US" dirty="0">
                <a:solidFill>
                  <a:srgbClr val="001965"/>
                </a:solidFill>
              </a:rPr>
            </a:br>
            <a:r>
              <a:rPr lang="en-US" dirty="0">
                <a:solidFill>
                  <a:srgbClr val="001965"/>
                </a:solidFill>
              </a:rPr>
              <a:t>CV events and support weight management</a:t>
            </a:r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CCD5757-EB1F-5615-6E05-599435494C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C356DA-5D09-40F4-9BAD-EA38A3F634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998" y="6235121"/>
            <a:ext cx="10895999" cy="32400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Conditions included in CVD definition may vary. CHD, coronary heart disease; CV, cardiovascular; CVD, cardiovascular disease.</a:t>
            </a:r>
            <a:br>
              <a:rPr lang="en-US" dirty="0"/>
            </a:br>
            <a:r>
              <a:rPr lang="en-US" dirty="0"/>
              <a:t>1. Roth GA et al. J Am Coll </a:t>
            </a:r>
            <a:r>
              <a:rPr lang="en-US" dirty="0" err="1"/>
              <a:t>Cardiol</a:t>
            </a:r>
            <a:r>
              <a:rPr lang="en-US" dirty="0"/>
              <a:t> 2020;76:2982–3021</a:t>
            </a:r>
            <a:r>
              <a:rPr lang="en-GB" dirty="0"/>
              <a:t>; 2. </a:t>
            </a:r>
            <a:r>
              <a:rPr lang="en-US" dirty="0"/>
              <a:t>WHO. Fact sheet – CVDs. Available at: https://www.who.int/en/news-room/fact-sheets/detail/cardiovascular-diseases-(cvds). Accessed January 2023; 3. </a:t>
            </a:r>
            <a:r>
              <a:rPr lang="en-GB" dirty="0"/>
              <a:t>World Obesity Federation. World obesity atlas 2022. Available at: https://www.worldobesity.org/resources/resource-library/world-obesity-atlas-2022. Accessed March 2023</a:t>
            </a:r>
            <a:r>
              <a:rPr lang="en-US" dirty="0"/>
              <a:t>; 4. World Obesity Federation. World obesity atlas 2022. Available at: </a:t>
            </a:r>
            <a:r>
              <a:rPr lang="en-GB" sz="800" dirty="0"/>
              <a:t>https://www.worldobesity.org/resources/resource-library/world-obesity-atlas-2022</a:t>
            </a:r>
            <a:r>
              <a:rPr lang="en-US" dirty="0">
                <a:solidFill>
                  <a:srgbClr val="001965"/>
                </a:solidFill>
              </a:rPr>
              <a:t>. Accessed January 2023</a:t>
            </a:r>
            <a:r>
              <a:rPr lang="en-US" dirty="0">
                <a:solidFill>
                  <a:schemeClr val="tx1"/>
                </a:solidFill>
              </a:rPr>
              <a:t>; </a:t>
            </a:r>
            <a:r>
              <a:rPr lang="en-US" dirty="0"/>
              <a:t>5. GBD 2015 Obesity Collaborators. N </a:t>
            </a:r>
            <a:r>
              <a:rPr lang="en-US" dirty="0" err="1"/>
              <a:t>Engl</a:t>
            </a:r>
            <a:r>
              <a:rPr lang="en-US" dirty="0"/>
              <a:t> J Med 2017;377:13–27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87761C2-E688-4DA4-B6DC-ABD8F3CF2DD9}"/>
              </a:ext>
            </a:extLst>
          </p:cNvPr>
          <p:cNvSpPr/>
          <p:nvPr/>
        </p:nvSpPr>
        <p:spPr>
          <a:xfrm>
            <a:off x="0" y="1609644"/>
            <a:ext cx="12192000" cy="39767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4A782DC-2CA8-43AC-BAC0-51DDE9B9C444}"/>
              </a:ext>
            </a:extLst>
          </p:cNvPr>
          <p:cNvSpPr/>
          <p:nvPr/>
        </p:nvSpPr>
        <p:spPr>
          <a:xfrm>
            <a:off x="4304521" y="1623600"/>
            <a:ext cx="5531704" cy="40015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pic>
        <p:nvPicPr>
          <p:cNvPr id="94" name="Picture 93" descr="A picture containing person&#10;&#10;Description automatically generated">
            <a:extLst>
              <a:ext uri="{FF2B5EF4-FFF2-40B4-BE49-F238E27FC236}">
                <a16:creationId xmlns:a16="http://schemas.microsoft.com/office/drawing/2014/main" id="{47783782-501E-4A0B-AA44-B09A059D3E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0567" y="2166513"/>
            <a:ext cx="5573221" cy="28184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grpSp>
        <p:nvGrpSpPr>
          <p:cNvPr id="95" name="Group 94">
            <a:extLst>
              <a:ext uri="{FF2B5EF4-FFF2-40B4-BE49-F238E27FC236}">
                <a16:creationId xmlns:a16="http://schemas.microsoft.com/office/drawing/2014/main" id="{934AB23D-6F18-4459-8B79-AB6E7FBF6089}"/>
              </a:ext>
            </a:extLst>
          </p:cNvPr>
          <p:cNvGrpSpPr/>
          <p:nvPr/>
        </p:nvGrpSpPr>
        <p:grpSpPr>
          <a:xfrm>
            <a:off x="6375729" y="2253492"/>
            <a:ext cx="2985919" cy="2565537"/>
            <a:chOff x="5744897" y="1658789"/>
            <a:chExt cx="2239439" cy="1924153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5728712-38A6-4834-BB42-32DE001897D8}"/>
                </a:ext>
              </a:extLst>
            </p:cNvPr>
            <p:cNvSpPr/>
            <p:nvPr/>
          </p:nvSpPr>
          <p:spPr>
            <a:xfrm>
              <a:off x="5896043" y="1658789"/>
              <a:ext cx="1924153" cy="1924153"/>
            </a:xfrm>
            <a:prstGeom prst="ellipse">
              <a:avLst/>
            </a:prstGeom>
            <a:solidFill>
              <a:srgbClr val="FFFFFF">
                <a:alpha val="65000"/>
              </a:srgbClr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2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AC2BA13-2E62-4A7E-A1BE-FED9F13502F9}"/>
                </a:ext>
              </a:extLst>
            </p:cNvPr>
            <p:cNvSpPr txBox="1"/>
            <p:nvPr/>
          </p:nvSpPr>
          <p:spPr>
            <a:xfrm>
              <a:off x="5744897" y="1832748"/>
              <a:ext cx="2239439" cy="1485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  <a:sym typeface="Symbol" panose="05050102010706020507" pitchFamily="18" charset="2"/>
                </a:rPr>
                <a:t>More than</a:t>
              </a:r>
            </a:p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867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</a:rPr>
                <a:t>764</a:t>
              </a:r>
              <a:br>
                <a:rPr kumimoji="0" lang="en-GB" sz="5333" b="1" i="0" u="none" strike="noStrike" kern="1200" cap="none" spc="0" normalizeH="0" baseline="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illion people estimated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to live with </a:t>
              </a: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besity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s of 2020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3D9C1226-742B-4785-BAA8-10DE4122AA21}"/>
              </a:ext>
            </a:extLst>
          </p:cNvPr>
          <p:cNvSpPr/>
          <p:nvPr/>
        </p:nvSpPr>
        <p:spPr>
          <a:xfrm>
            <a:off x="406062" y="1733787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523</a:t>
            </a:r>
            <a:r>
              <a:rPr kumimoji="0" lang="en-GB" sz="2133" b="1" i="0" u="none" strike="noStrike" kern="1200" cap="none" spc="0" normalizeH="0" baseline="0" noProof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 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million people had </a:t>
            </a: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D</a:t>
            </a:r>
            <a:r>
              <a:rPr kumimoji="0" lang="en-GB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in 2019 (globally)</a:t>
            </a:r>
            <a:r>
              <a:rPr kumimoji="0" lang="en-GB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1</a:t>
            </a: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Arial" charset="0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80D471D-CEF9-4203-B516-A3FC6BE1C9CB}"/>
              </a:ext>
            </a:extLst>
          </p:cNvPr>
          <p:cNvSpPr/>
          <p:nvPr/>
        </p:nvSpPr>
        <p:spPr>
          <a:xfrm>
            <a:off x="1044610" y="3398329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32</a:t>
            </a:r>
            <a:r>
              <a:rPr kumimoji="0" lang="en-GB" sz="2667" b="0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%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of all global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deaths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are from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D</a:t>
            </a:r>
            <a:r>
              <a:rPr kumimoji="0" lang="en-U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2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Arial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515A8E0-7F48-45EB-99BA-814E7DBBDA92}"/>
              </a:ext>
            </a:extLst>
          </p:cNvPr>
          <p:cNvSpPr/>
          <p:nvPr/>
        </p:nvSpPr>
        <p:spPr>
          <a:xfrm>
            <a:off x="2206582" y="1996133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49</a:t>
            </a:r>
            <a:r>
              <a:rPr kumimoji="0" lang="en-GB" sz="2667" b="0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%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of global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 deaths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are due to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HD</a:t>
            </a:r>
            <a:r>
              <a:rPr kumimoji="0" lang="en-U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0AC840D-DBF4-4C51-AA80-AD0C10D168D0}"/>
              </a:ext>
            </a:extLst>
          </p:cNvPr>
          <p:cNvSpPr txBox="1"/>
          <p:nvPr/>
        </p:nvSpPr>
        <p:spPr>
          <a:xfrm>
            <a:off x="0" y="5265495"/>
            <a:ext cx="12192000" cy="54675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353474" lvl="1" algn="ctr">
              <a:spcBef>
                <a:spcPts val="800"/>
              </a:spcBef>
              <a:defRPr sz="1600"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ffective interventions that lower CV events &amp; death in this population are greatly needed!</a:t>
            </a:r>
            <a:r>
              <a:rPr kumimoji="0" lang="en-CA" sz="18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5</a:t>
            </a:r>
          </a:p>
        </p:txBody>
      </p:sp>
      <p:sp>
        <p:nvSpPr>
          <p:cNvPr id="4" name="Heart CVD Icon">
            <a:extLst>
              <a:ext uri="{FF2B5EF4-FFF2-40B4-BE49-F238E27FC236}">
                <a16:creationId xmlns:a16="http://schemas.microsoft.com/office/drawing/2014/main" id="{BAFF15C2-439F-9EE3-45E2-15BDFB29D701}"/>
              </a:ext>
            </a:extLst>
          </p:cNvPr>
          <p:cNvSpPr/>
          <p:nvPr/>
        </p:nvSpPr>
        <p:spPr>
          <a:xfrm>
            <a:off x="3405572" y="3761352"/>
            <a:ext cx="669750" cy="787770"/>
          </a:xfrm>
          <a:custGeom>
            <a:avLst/>
            <a:gdLst>
              <a:gd name="connsiteX0" fmla="*/ 85792 w 351099"/>
              <a:gd name="connsiteY0" fmla="*/ 31454 h 412969"/>
              <a:gd name="connsiteX1" fmla="*/ 89326 w 351099"/>
              <a:gd name="connsiteY1" fmla="*/ 18452 h 412969"/>
              <a:gd name="connsiteX2" fmla="*/ 89411 w 351099"/>
              <a:gd name="connsiteY2" fmla="*/ 18405 h 412969"/>
              <a:gd name="connsiteX3" fmla="*/ 102365 w 351099"/>
              <a:gd name="connsiteY3" fmla="*/ 22024 h 412969"/>
              <a:gd name="connsiteX4" fmla="*/ 125035 w 351099"/>
              <a:gd name="connsiteY4" fmla="*/ 61839 h 412969"/>
              <a:gd name="connsiteX5" fmla="*/ 155991 w 351099"/>
              <a:gd name="connsiteY5" fmla="*/ 72030 h 412969"/>
              <a:gd name="connsiteX6" fmla="*/ 165516 w 351099"/>
              <a:gd name="connsiteY6" fmla="*/ 52980 h 412969"/>
              <a:gd name="connsiteX7" fmla="*/ 152086 w 351099"/>
              <a:gd name="connsiteY7" fmla="*/ 12499 h 412969"/>
              <a:gd name="connsiteX8" fmla="*/ 158134 w 351099"/>
              <a:gd name="connsiteY8" fmla="*/ 450 h 412969"/>
              <a:gd name="connsiteX9" fmla="*/ 170183 w 351099"/>
              <a:gd name="connsiteY9" fmla="*/ 6498 h 412969"/>
              <a:gd name="connsiteX10" fmla="*/ 186090 w 351099"/>
              <a:gd name="connsiteY10" fmla="*/ 54123 h 412969"/>
              <a:gd name="connsiteX11" fmla="*/ 165707 w 351099"/>
              <a:gd name="connsiteY11" fmla="*/ 95557 h 412969"/>
              <a:gd name="connsiteX12" fmla="*/ 112081 w 351099"/>
              <a:gd name="connsiteY12" fmla="*/ 77936 h 412969"/>
              <a:gd name="connsiteX13" fmla="*/ 289341 w 351099"/>
              <a:gd name="connsiteY13" fmla="*/ 136896 h 412969"/>
              <a:gd name="connsiteX14" fmla="*/ 314487 w 351099"/>
              <a:gd name="connsiteY14" fmla="*/ 158232 h 412969"/>
              <a:gd name="connsiteX15" fmla="*/ 322202 w 351099"/>
              <a:gd name="connsiteY15" fmla="*/ 162232 h 412969"/>
              <a:gd name="connsiteX16" fmla="*/ 327727 w 351099"/>
              <a:gd name="connsiteY16" fmla="*/ 160518 h 412969"/>
              <a:gd name="connsiteX17" fmla="*/ 330061 w 351099"/>
              <a:gd name="connsiteY17" fmla="*/ 147249 h 412969"/>
              <a:gd name="connsiteX18" fmla="*/ 330013 w 351099"/>
              <a:gd name="connsiteY18" fmla="*/ 147183 h 412969"/>
              <a:gd name="connsiteX19" fmla="*/ 297628 w 351099"/>
              <a:gd name="connsiteY19" fmla="*/ 119846 h 412969"/>
              <a:gd name="connsiteX20" fmla="*/ 285398 w 351099"/>
              <a:gd name="connsiteY20" fmla="*/ 125485 h 412969"/>
              <a:gd name="connsiteX21" fmla="*/ 289341 w 351099"/>
              <a:gd name="connsiteY21" fmla="*/ 136896 h 412969"/>
              <a:gd name="connsiteX22" fmla="*/ 328013 w 351099"/>
              <a:gd name="connsiteY22" fmla="*/ 189664 h 412969"/>
              <a:gd name="connsiteX23" fmla="*/ 332013 w 351099"/>
              <a:gd name="connsiteY23" fmla="*/ 225288 h 412969"/>
              <a:gd name="connsiteX24" fmla="*/ 341538 w 351099"/>
              <a:gd name="connsiteY24" fmla="*/ 234813 h 412969"/>
              <a:gd name="connsiteX25" fmla="*/ 341538 w 351099"/>
              <a:gd name="connsiteY25" fmla="*/ 234813 h 412969"/>
              <a:gd name="connsiteX26" fmla="*/ 351063 w 351099"/>
              <a:gd name="connsiteY26" fmla="*/ 225288 h 412969"/>
              <a:gd name="connsiteX27" fmla="*/ 346586 w 351099"/>
              <a:gd name="connsiteY27" fmla="*/ 185378 h 412969"/>
              <a:gd name="connsiteX28" fmla="*/ 334871 w 351099"/>
              <a:gd name="connsiteY28" fmla="*/ 178044 h 412969"/>
              <a:gd name="connsiteX29" fmla="*/ 327536 w 351099"/>
              <a:gd name="connsiteY29" fmla="*/ 189760 h 412969"/>
              <a:gd name="connsiteX30" fmla="*/ 340300 w 351099"/>
              <a:gd name="connsiteY30" fmla="*/ 253767 h 412969"/>
              <a:gd name="connsiteX31" fmla="*/ 329641 w 351099"/>
              <a:gd name="connsiteY31" fmla="*/ 261997 h 412969"/>
              <a:gd name="connsiteX32" fmla="*/ 329632 w 351099"/>
              <a:gd name="connsiteY32" fmla="*/ 262054 h 412969"/>
              <a:gd name="connsiteX33" fmla="*/ 322869 w 351099"/>
              <a:gd name="connsiteY33" fmla="*/ 298535 h 412969"/>
              <a:gd name="connsiteX34" fmla="*/ 329889 w 351099"/>
              <a:gd name="connsiteY34" fmla="*/ 310032 h 412969"/>
              <a:gd name="connsiteX35" fmla="*/ 330013 w 351099"/>
              <a:gd name="connsiteY35" fmla="*/ 310060 h 412969"/>
              <a:gd name="connsiteX36" fmla="*/ 332204 w 351099"/>
              <a:gd name="connsiteY36" fmla="*/ 310060 h 412969"/>
              <a:gd name="connsiteX37" fmla="*/ 341729 w 351099"/>
              <a:gd name="connsiteY37" fmla="*/ 302726 h 412969"/>
              <a:gd name="connsiteX38" fmla="*/ 348777 w 351099"/>
              <a:gd name="connsiteY38" fmla="*/ 264626 h 412969"/>
              <a:gd name="connsiteX39" fmla="*/ 340738 w 351099"/>
              <a:gd name="connsiteY39" fmla="*/ 253825 h 412969"/>
              <a:gd name="connsiteX40" fmla="*/ 340300 w 351099"/>
              <a:gd name="connsiteY40" fmla="*/ 253767 h 412969"/>
              <a:gd name="connsiteX41" fmla="*/ 324488 w 351099"/>
              <a:gd name="connsiteY41" fmla="*/ 328348 h 412969"/>
              <a:gd name="connsiteX42" fmla="*/ 312677 w 351099"/>
              <a:gd name="connsiteY42" fmla="*/ 334730 h 412969"/>
              <a:gd name="connsiteX43" fmla="*/ 297152 w 351099"/>
              <a:gd name="connsiteY43" fmla="*/ 365591 h 412969"/>
              <a:gd name="connsiteX44" fmla="*/ 297152 w 351099"/>
              <a:gd name="connsiteY44" fmla="*/ 365591 h 412969"/>
              <a:gd name="connsiteX45" fmla="*/ 238763 w 351099"/>
              <a:gd name="connsiteY45" fmla="*/ 394166 h 412969"/>
              <a:gd name="connsiteX46" fmla="*/ 72933 w 351099"/>
              <a:gd name="connsiteY46" fmla="*/ 273008 h 412969"/>
              <a:gd name="connsiteX47" fmla="*/ 64456 w 351099"/>
              <a:gd name="connsiteY47" fmla="*/ 168233 h 412969"/>
              <a:gd name="connsiteX48" fmla="*/ 151991 w 351099"/>
              <a:gd name="connsiteY48" fmla="*/ 139658 h 412969"/>
              <a:gd name="connsiteX49" fmla="*/ 171041 w 351099"/>
              <a:gd name="connsiteY49" fmla="*/ 144992 h 412969"/>
              <a:gd name="connsiteX50" fmla="*/ 175422 w 351099"/>
              <a:gd name="connsiteY50" fmla="*/ 144992 h 412969"/>
              <a:gd name="connsiteX51" fmla="*/ 177994 w 351099"/>
              <a:gd name="connsiteY51" fmla="*/ 141563 h 412969"/>
              <a:gd name="connsiteX52" fmla="*/ 199901 w 351099"/>
              <a:gd name="connsiteY52" fmla="*/ 102129 h 412969"/>
              <a:gd name="connsiteX53" fmla="*/ 250860 w 351099"/>
              <a:gd name="connsiteY53" fmla="*/ 22977 h 412969"/>
              <a:gd name="connsiteX54" fmla="*/ 262671 w 351099"/>
              <a:gd name="connsiteY54" fmla="*/ 32502 h 412969"/>
              <a:gd name="connsiteX55" fmla="*/ 252384 w 351099"/>
              <a:gd name="connsiteY55" fmla="*/ 44313 h 412969"/>
              <a:gd name="connsiteX56" fmla="*/ 230953 w 351099"/>
              <a:gd name="connsiteY56" fmla="*/ 109178 h 412969"/>
              <a:gd name="connsiteX57" fmla="*/ 230953 w 351099"/>
              <a:gd name="connsiteY57" fmla="*/ 110702 h 412969"/>
              <a:gd name="connsiteX58" fmla="*/ 235239 w 351099"/>
              <a:gd name="connsiteY58" fmla="*/ 158327 h 412969"/>
              <a:gd name="connsiteX59" fmla="*/ 235239 w 351099"/>
              <a:gd name="connsiteY59" fmla="*/ 158327 h 412969"/>
              <a:gd name="connsiteX60" fmla="*/ 230762 w 351099"/>
              <a:gd name="connsiteY60" fmla="*/ 188236 h 412969"/>
              <a:gd name="connsiteX61" fmla="*/ 237620 w 351099"/>
              <a:gd name="connsiteY61" fmla="*/ 199827 h 412969"/>
              <a:gd name="connsiteX62" fmla="*/ 237716 w 351099"/>
              <a:gd name="connsiteY62" fmla="*/ 199856 h 412969"/>
              <a:gd name="connsiteX63" fmla="*/ 240002 w 351099"/>
              <a:gd name="connsiteY63" fmla="*/ 199856 h 412969"/>
              <a:gd name="connsiteX64" fmla="*/ 249527 w 351099"/>
              <a:gd name="connsiteY64" fmla="*/ 192617 h 412969"/>
              <a:gd name="connsiteX65" fmla="*/ 254575 w 351099"/>
              <a:gd name="connsiteY65" fmla="*/ 158994 h 412969"/>
              <a:gd name="connsiteX66" fmla="*/ 254575 w 351099"/>
              <a:gd name="connsiteY66" fmla="*/ 158994 h 412969"/>
              <a:gd name="connsiteX67" fmla="*/ 253908 w 351099"/>
              <a:gd name="connsiteY67" fmla="*/ 130419 h 412969"/>
              <a:gd name="connsiteX68" fmla="*/ 256861 w 351099"/>
              <a:gd name="connsiteY68" fmla="*/ 130419 h 412969"/>
              <a:gd name="connsiteX69" fmla="*/ 265814 w 351099"/>
              <a:gd name="connsiteY69" fmla="*/ 120322 h 412969"/>
              <a:gd name="connsiteX70" fmla="*/ 255718 w 351099"/>
              <a:gd name="connsiteY70" fmla="*/ 111369 h 412969"/>
              <a:gd name="connsiteX71" fmla="*/ 251146 w 351099"/>
              <a:gd name="connsiteY71" fmla="*/ 111369 h 412969"/>
              <a:gd name="connsiteX72" fmla="*/ 250003 w 351099"/>
              <a:gd name="connsiteY72" fmla="*/ 105844 h 412969"/>
              <a:gd name="connsiteX73" fmla="*/ 266862 w 351099"/>
              <a:gd name="connsiteY73" fmla="*/ 55552 h 412969"/>
              <a:gd name="connsiteX74" fmla="*/ 280292 w 351099"/>
              <a:gd name="connsiteY74" fmla="*/ 40027 h 412969"/>
              <a:gd name="connsiteX75" fmla="*/ 278854 w 351099"/>
              <a:gd name="connsiteY75" fmla="*/ 19871 h 412969"/>
              <a:gd name="connsiteX76" fmla="*/ 278578 w 351099"/>
              <a:gd name="connsiteY76" fmla="*/ 19643 h 412969"/>
              <a:gd name="connsiteX77" fmla="*/ 259528 w 351099"/>
              <a:gd name="connsiteY77" fmla="*/ 3831 h 412969"/>
              <a:gd name="connsiteX78" fmla="*/ 239525 w 351099"/>
              <a:gd name="connsiteY78" fmla="*/ 5451 h 412969"/>
              <a:gd name="connsiteX79" fmla="*/ 182375 w 351099"/>
              <a:gd name="connsiteY79" fmla="*/ 94128 h 412969"/>
              <a:gd name="connsiteX80" fmla="*/ 166564 w 351099"/>
              <a:gd name="connsiteY80" fmla="*/ 123846 h 412969"/>
              <a:gd name="connsiteX81" fmla="*/ 159325 w 351099"/>
              <a:gd name="connsiteY81" fmla="*/ 120989 h 412969"/>
              <a:gd name="connsiteX82" fmla="*/ 47311 w 351099"/>
              <a:gd name="connsiteY82" fmla="*/ 159089 h 412969"/>
              <a:gd name="connsiteX83" fmla="*/ 56360 w 351099"/>
              <a:gd name="connsiteY83" fmla="*/ 282342 h 412969"/>
              <a:gd name="connsiteX84" fmla="*/ 237335 w 351099"/>
              <a:gd name="connsiteY84" fmla="*/ 412930 h 412969"/>
              <a:gd name="connsiteX85" fmla="*/ 241907 w 351099"/>
              <a:gd name="connsiteY85" fmla="*/ 412930 h 412969"/>
              <a:gd name="connsiteX86" fmla="*/ 311915 w 351099"/>
              <a:gd name="connsiteY86" fmla="*/ 376830 h 412969"/>
              <a:gd name="connsiteX87" fmla="*/ 311915 w 351099"/>
              <a:gd name="connsiteY87" fmla="*/ 376830 h 412969"/>
              <a:gd name="connsiteX88" fmla="*/ 330489 w 351099"/>
              <a:gd name="connsiteY88" fmla="*/ 339969 h 412969"/>
              <a:gd name="connsiteX89" fmla="*/ 324488 w 351099"/>
              <a:gd name="connsiteY89" fmla="*/ 328348 h 412969"/>
              <a:gd name="connsiteX90" fmla="*/ 231239 w 351099"/>
              <a:gd name="connsiteY90" fmla="*/ 217191 h 412969"/>
              <a:gd name="connsiteX91" fmla="*/ 218285 w 351099"/>
              <a:gd name="connsiteY91" fmla="*/ 220897 h 412969"/>
              <a:gd name="connsiteX92" fmla="*/ 218285 w 351099"/>
              <a:gd name="connsiteY92" fmla="*/ 220906 h 412969"/>
              <a:gd name="connsiteX93" fmla="*/ 197330 w 351099"/>
              <a:gd name="connsiteY93" fmla="*/ 249481 h 412969"/>
              <a:gd name="connsiteX94" fmla="*/ 197758 w 351099"/>
              <a:gd name="connsiteY94" fmla="*/ 262959 h 412969"/>
              <a:gd name="connsiteX95" fmla="*/ 211236 w 351099"/>
              <a:gd name="connsiteY95" fmla="*/ 262530 h 412969"/>
              <a:gd name="connsiteX96" fmla="*/ 234953 w 351099"/>
              <a:gd name="connsiteY96" fmla="*/ 229860 h 412969"/>
              <a:gd name="connsiteX97" fmla="*/ 231239 w 351099"/>
              <a:gd name="connsiteY97" fmla="*/ 217191 h 412969"/>
              <a:gd name="connsiteX98" fmla="*/ 89411 w 351099"/>
              <a:gd name="connsiteY98" fmla="*/ 101748 h 412969"/>
              <a:gd name="connsiteX99" fmla="*/ 97317 w 351099"/>
              <a:gd name="connsiteY99" fmla="*/ 105939 h 412969"/>
              <a:gd name="connsiteX100" fmla="*/ 102651 w 351099"/>
              <a:gd name="connsiteY100" fmla="*/ 104320 h 412969"/>
              <a:gd name="connsiteX101" fmla="*/ 105128 w 351099"/>
              <a:gd name="connsiteY101" fmla="*/ 91080 h 412969"/>
              <a:gd name="connsiteX102" fmla="*/ 76553 w 351099"/>
              <a:gd name="connsiteY102" fmla="*/ 48408 h 412969"/>
              <a:gd name="connsiteX103" fmla="*/ 8163 w 351099"/>
              <a:gd name="connsiteY103" fmla="*/ 62791 h 412969"/>
              <a:gd name="connsiteX104" fmla="*/ 57 w 351099"/>
              <a:gd name="connsiteY104" fmla="*/ 73545 h 412969"/>
              <a:gd name="connsiteX105" fmla="*/ 10811 w 351099"/>
              <a:gd name="connsiteY105" fmla="*/ 81660 h 412969"/>
              <a:gd name="connsiteX106" fmla="*/ 12164 w 351099"/>
              <a:gd name="connsiteY106" fmla="*/ 81365 h 412969"/>
              <a:gd name="connsiteX107" fmla="*/ 67980 w 351099"/>
              <a:gd name="connsiteY107" fmla="*/ 69649 h 412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51099" h="412969">
                <a:moveTo>
                  <a:pt x="85792" y="31454"/>
                </a:moveTo>
                <a:cubicBezTo>
                  <a:pt x="83182" y="26891"/>
                  <a:pt x="84754" y="21072"/>
                  <a:pt x="89326" y="18452"/>
                </a:cubicBezTo>
                <a:cubicBezTo>
                  <a:pt x="89354" y="18433"/>
                  <a:pt x="89383" y="18424"/>
                  <a:pt x="89411" y="18405"/>
                </a:cubicBezTo>
                <a:cubicBezTo>
                  <a:pt x="93993" y="15833"/>
                  <a:pt x="99784" y="17452"/>
                  <a:pt x="102365" y="22024"/>
                </a:cubicBezTo>
                <a:lnTo>
                  <a:pt x="125035" y="61839"/>
                </a:lnTo>
                <a:lnTo>
                  <a:pt x="155991" y="72030"/>
                </a:lnTo>
                <a:lnTo>
                  <a:pt x="165516" y="52980"/>
                </a:lnTo>
                <a:lnTo>
                  <a:pt x="152086" y="12499"/>
                </a:lnTo>
                <a:cubicBezTo>
                  <a:pt x="150429" y="7499"/>
                  <a:pt x="153134" y="2107"/>
                  <a:pt x="158134" y="450"/>
                </a:cubicBezTo>
                <a:cubicBezTo>
                  <a:pt x="163135" y="-1207"/>
                  <a:pt x="168526" y="1498"/>
                  <a:pt x="170183" y="6498"/>
                </a:cubicBezTo>
                <a:lnTo>
                  <a:pt x="186090" y="54123"/>
                </a:lnTo>
                <a:lnTo>
                  <a:pt x="165707" y="95557"/>
                </a:lnTo>
                <a:lnTo>
                  <a:pt x="112081" y="77936"/>
                </a:lnTo>
                <a:close/>
                <a:moveTo>
                  <a:pt x="289341" y="136896"/>
                </a:moveTo>
                <a:cubicBezTo>
                  <a:pt x="299380" y="141792"/>
                  <a:pt x="308020" y="149126"/>
                  <a:pt x="314487" y="158232"/>
                </a:cubicBezTo>
                <a:cubicBezTo>
                  <a:pt x="316268" y="160727"/>
                  <a:pt x="319135" y="162223"/>
                  <a:pt x="322202" y="162232"/>
                </a:cubicBezTo>
                <a:cubicBezTo>
                  <a:pt x="324174" y="162251"/>
                  <a:pt x="326108" y="161651"/>
                  <a:pt x="327727" y="160518"/>
                </a:cubicBezTo>
                <a:cubicBezTo>
                  <a:pt x="332032" y="157498"/>
                  <a:pt x="333080" y="151555"/>
                  <a:pt x="330061" y="147249"/>
                </a:cubicBezTo>
                <a:cubicBezTo>
                  <a:pt x="330042" y="147230"/>
                  <a:pt x="330032" y="147202"/>
                  <a:pt x="330013" y="147183"/>
                </a:cubicBezTo>
                <a:cubicBezTo>
                  <a:pt x="321726" y="135457"/>
                  <a:pt x="310572" y="126056"/>
                  <a:pt x="297628" y="119846"/>
                </a:cubicBezTo>
                <a:cubicBezTo>
                  <a:pt x="292694" y="118027"/>
                  <a:pt x="287217" y="120551"/>
                  <a:pt x="285398" y="125485"/>
                </a:cubicBezTo>
                <a:cubicBezTo>
                  <a:pt x="283826" y="129742"/>
                  <a:pt x="285474" y="134514"/>
                  <a:pt x="289341" y="136896"/>
                </a:cubicBezTo>
                <a:close/>
                <a:moveTo>
                  <a:pt x="328013" y="189664"/>
                </a:moveTo>
                <a:cubicBezTo>
                  <a:pt x="330661" y="201351"/>
                  <a:pt x="332004" y="213305"/>
                  <a:pt x="332013" y="225288"/>
                </a:cubicBezTo>
                <a:cubicBezTo>
                  <a:pt x="332013" y="230545"/>
                  <a:pt x="336280" y="234813"/>
                  <a:pt x="341538" y="234813"/>
                </a:cubicBezTo>
                <a:lnTo>
                  <a:pt x="341538" y="234813"/>
                </a:lnTo>
                <a:cubicBezTo>
                  <a:pt x="346796" y="234813"/>
                  <a:pt x="351063" y="230545"/>
                  <a:pt x="351063" y="225288"/>
                </a:cubicBezTo>
                <a:cubicBezTo>
                  <a:pt x="351044" y="211857"/>
                  <a:pt x="349539" y="198475"/>
                  <a:pt x="346586" y="185378"/>
                </a:cubicBezTo>
                <a:cubicBezTo>
                  <a:pt x="345377" y="180120"/>
                  <a:pt x="340128" y="176834"/>
                  <a:pt x="334871" y="178044"/>
                </a:cubicBezTo>
                <a:cubicBezTo>
                  <a:pt x="329613" y="179253"/>
                  <a:pt x="326327" y="184502"/>
                  <a:pt x="327536" y="189760"/>
                </a:cubicBezTo>
                <a:close/>
                <a:moveTo>
                  <a:pt x="340300" y="253767"/>
                </a:moveTo>
                <a:cubicBezTo>
                  <a:pt x="335080" y="253101"/>
                  <a:pt x="330308" y="256787"/>
                  <a:pt x="329641" y="261997"/>
                </a:cubicBezTo>
                <a:cubicBezTo>
                  <a:pt x="329632" y="262016"/>
                  <a:pt x="329632" y="262035"/>
                  <a:pt x="329632" y="262054"/>
                </a:cubicBezTo>
                <a:cubicBezTo>
                  <a:pt x="328013" y="274322"/>
                  <a:pt x="325755" y="286495"/>
                  <a:pt x="322869" y="298535"/>
                </a:cubicBezTo>
                <a:cubicBezTo>
                  <a:pt x="321631" y="303650"/>
                  <a:pt x="324774" y="308793"/>
                  <a:pt x="329889" y="310032"/>
                </a:cubicBezTo>
                <a:cubicBezTo>
                  <a:pt x="329927" y="310041"/>
                  <a:pt x="329975" y="310051"/>
                  <a:pt x="330013" y="310060"/>
                </a:cubicBezTo>
                <a:lnTo>
                  <a:pt x="332204" y="310060"/>
                </a:lnTo>
                <a:cubicBezTo>
                  <a:pt x="336718" y="310184"/>
                  <a:pt x="340690" y="307117"/>
                  <a:pt x="341729" y="302726"/>
                </a:cubicBezTo>
                <a:cubicBezTo>
                  <a:pt x="344777" y="289677"/>
                  <a:pt x="347158" y="276723"/>
                  <a:pt x="348777" y="264626"/>
                </a:cubicBezTo>
                <a:cubicBezTo>
                  <a:pt x="349539" y="259425"/>
                  <a:pt x="345939" y="254587"/>
                  <a:pt x="340738" y="253825"/>
                </a:cubicBezTo>
                <a:cubicBezTo>
                  <a:pt x="340586" y="253796"/>
                  <a:pt x="340443" y="253786"/>
                  <a:pt x="340300" y="253767"/>
                </a:cubicBezTo>
                <a:close/>
                <a:moveTo>
                  <a:pt x="324488" y="328348"/>
                </a:moveTo>
                <a:cubicBezTo>
                  <a:pt x="319469" y="326872"/>
                  <a:pt x="314192" y="329720"/>
                  <a:pt x="312677" y="334730"/>
                </a:cubicBezTo>
                <a:cubicBezTo>
                  <a:pt x="309287" y="345817"/>
                  <a:pt x="304038" y="356256"/>
                  <a:pt x="297152" y="365591"/>
                </a:cubicBezTo>
                <a:lnTo>
                  <a:pt x="297152" y="365591"/>
                </a:lnTo>
                <a:cubicBezTo>
                  <a:pt x="284122" y="384774"/>
                  <a:pt x="261909" y="395642"/>
                  <a:pt x="238763" y="394166"/>
                </a:cubicBezTo>
                <a:cubicBezTo>
                  <a:pt x="199330" y="392356"/>
                  <a:pt x="112271" y="340636"/>
                  <a:pt x="72933" y="273008"/>
                </a:cubicBezTo>
                <a:cubicBezTo>
                  <a:pt x="51026" y="234908"/>
                  <a:pt x="48168" y="199951"/>
                  <a:pt x="64456" y="168233"/>
                </a:cubicBezTo>
                <a:cubicBezTo>
                  <a:pt x="87792" y="122322"/>
                  <a:pt x="129702" y="130609"/>
                  <a:pt x="151991" y="139658"/>
                </a:cubicBezTo>
                <a:cubicBezTo>
                  <a:pt x="157858" y="142858"/>
                  <a:pt x="164364" y="144687"/>
                  <a:pt x="171041" y="144992"/>
                </a:cubicBezTo>
                <a:lnTo>
                  <a:pt x="175422" y="144992"/>
                </a:lnTo>
                <a:lnTo>
                  <a:pt x="177994" y="141563"/>
                </a:lnTo>
                <a:cubicBezTo>
                  <a:pt x="187214" y="129580"/>
                  <a:pt x="194596" y="116284"/>
                  <a:pt x="199901" y="102129"/>
                </a:cubicBezTo>
                <a:cubicBezTo>
                  <a:pt x="213313" y="73602"/>
                  <a:pt x="230448" y="46989"/>
                  <a:pt x="250860" y="22977"/>
                </a:cubicBezTo>
                <a:lnTo>
                  <a:pt x="262671" y="32502"/>
                </a:lnTo>
                <a:lnTo>
                  <a:pt x="252384" y="44313"/>
                </a:lnTo>
                <a:cubicBezTo>
                  <a:pt x="236954" y="62258"/>
                  <a:pt x="229257" y="85575"/>
                  <a:pt x="230953" y="109178"/>
                </a:cubicBezTo>
                <a:lnTo>
                  <a:pt x="230953" y="110702"/>
                </a:lnTo>
                <a:cubicBezTo>
                  <a:pt x="234601" y="126294"/>
                  <a:pt x="236039" y="142325"/>
                  <a:pt x="235239" y="158327"/>
                </a:cubicBezTo>
                <a:lnTo>
                  <a:pt x="235239" y="158327"/>
                </a:lnTo>
                <a:cubicBezTo>
                  <a:pt x="234782" y="168423"/>
                  <a:pt x="233277" y="178444"/>
                  <a:pt x="230762" y="188236"/>
                </a:cubicBezTo>
                <a:cubicBezTo>
                  <a:pt x="229458" y="193331"/>
                  <a:pt x="232525" y="198522"/>
                  <a:pt x="237620" y="199827"/>
                </a:cubicBezTo>
                <a:cubicBezTo>
                  <a:pt x="237649" y="199837"/>
                  <a:pt x="237687" y="199846"/>
                  <a:pt x="237716" y="199856"/>
                </a:cubicBezTo>
                <a:lnTo>
                  <a:pt x="240002" y="199856"/>
                </a:lnTo>
                <a:cubicBezTo>
                  <a:pt x="244488" y="199989"/>
                  <a:pt x="248450" y="196970"/>
                  <a:pt x="249527" y="192617"/>
                </a:cubicBezTo>
                <a:cubicBezTo>
                  <a:pt x="252337" y="181606"/>
                  <a:pt x="254022" y="170338"/>
                  <a:pt x="254575" y="158994"/>
                </a:cubicBezTo>
                <a:lnTo>
                  <a:pt x="254575" y="158994"/>
                </a:lnTo>
                <a:cubicBezTo>
                  <a:pt x="255108" y="149469"/>
                  <a:pt x="254889" y="139915"/>
                  <a:pt x="253908" y="130419"/>
                </a:cubicBezTo>
                <a:lnTo>
                  <a:pt x="256861" y="130419"/>
                </a:lnTo>
                <a:cubicBezTo>
                  <a:pt x="262119" y="130104"/>
                  <a:pt x="266129" y="125580"/>
                  <a:pt x="265814" y="120322"/>
                </a:cubicBezTo>
                <a:cubicBezTo>
                  <a:pt x="265500" y="115064"/>
                  <a:pt x="260976" y="111054"/>
                  <a:pt x="255718" y="111369"/>
                </a:cubicBezTo>
                <a:lnTo>
                  <a:pt x="251146" y="111369"/>
                </a:lnTo>
                <a:cubicBezTo>
                  <a:pt x="251146" y="109369"/>
                  <a:pt x="250384" y="107559"/>
                  <a:pt x="250003" y="105844"/>
                </a:cubicBezTo>
                <a:cubicBezTo>
                  <a:pt x="248841" y="87518"/>
                  <a:pt x="254889" y="69468"/>
                  <a:pt x="266862" y="55552"/>
                </a:cubicBezTo>
                <a:lnTo>
                  <a:pt x="280292" y="40027"/>
                </a:lnTo>
                <a:cubicBezTo>
                  <a:pt x="285455" y="34064"/>
                  <a:pt x="284817" y="25043"/>
                  <a:pt x="278854" y="19871"/>
                </a:cubicBezTo>
                <a:cubicBezTo>
                  <a:pt x="278759" y="19795"/>
                  <a:pt x="278673" y="19719"/>
                  <a:pt x="278578" y="19643"/>
                </a:cubicBezTo>
                <a:lnTo>
                  <a:pt x="259528" y="3831"/>
                </a:lnTo>
                <a:cubicBezTo>
                  <a:pt x="253508" y="-1083"/>
                  <a:pt x="244678" y="-369"/>
                  <a:pt x="239525" y="5451"/>
                </a:cubicBezTo>
                <a:cubicBezTo>
                  <a:pt x="216370" y="32149"/>
                  <a:pt x="197130" y="62010"/>
                  <a:pt x="182375" y="94128"/>
                </a:cubicBezTo>
                <a:cubicBezTo>
                  <a:pt x="178413" y="104673"/>
                  <a:pt x="173098" y="114664"/>
                  <a:pt x="166564" y="123846"/>
                </a:cubicBezTo>
                <a:cubicBezTo>
                  <a:pt x="164087" y="123056"/>
                  <a:pt x="161668" y="122103"/>
                  <a:pt x="159325" y="120989"/>
                </a:cubicBezTo>
                <a:cubicBezTo>
                  <a:pt x="110938" y="101939"/>
                  <a:pt x="69028" y="116036"/>
                  <a:pt x="47311" y="159089"/>
                </a:cubicBezTo>
                <a:cubicBezTo>
                  <a:pt x="28261" y="196617"/>
                  <a:pt x="31309" y="239194"/>
                  <a:pt x="56360" y="282342"/>
                </a:cubicBezTo>
                <a:cubicBezTo>
                  <a:pt x="96746" y="351875"/>
                  <a:pt x="188567" y="410644"/>
                  <a:pt x="237335" y="412930"/>
                </a:cubicBezTo>
                <a:lnTo>
                  <a:pt x="241907" y="412930"/>
                </a:lnTo>
                <a:cubicBezTo>
                  <a:pt x="269758" y="413130"/>
                  <a:pt x="295923" y="399633"/>
                  <a:pt x="311915" y="376830"/>
                </a:cubicBezTo>
                <a:lnTo>
                  <a:pt x="311915" y="376830"/>
                </a:lnTo>
                <a:cubicBezTo>
                  <a:pt x="320088" y="365648"/>
                  <a:pt x="326365" y="353189"/>
                  <a:pt x="330489" y="339969"/>
                </a:cubicBezTo>
                <a:cubicBezTo>
                  <a:pt x="331880" y="335120"/>
                  <a:pt x="329251" y="330015"/>
                  <a:pt x="324488" y="328348"/>
                </a:cubicBezTo>
                <a:close/>
                <a:moveTo>
                  <a:pt x="231239" y="217191"/>
                </a:moveTo>
                <a:cubicBezTo>
                  <a:pt x="226638" y="214639"/>
                  <a:pt x="220837" y="216296"/>
                  <a:pt x="218285" y="220897"/>
                </a:cubicBezTo>
                <a:cubicBezTo>
                  <a:pt x="218285" y="220897"/>
                  <a:pt x="218285" y="220906"/>
                  <a:pt x="218285" y="220906"/>
                </a:cubicBezTo>
                <a:cubicBezTo>
                  <a:pt x="212522" y="231269"/>
                  <a:pt x="205483" y="240871"/>
                  <a:pt x="197330" y="249481"/>
                </a:cubicBezTo>
                <a:cubicBezTo>
                  <a:pt x="193729" y="253320"/>
                  <a:pt x="193920" y="259359"/>
                  <a:pt x="197758" y="262959"/>
                </a:cubicBezTo>
                <a:cubicBezTo>
                  <a:pt x="201597" y="266560"/>
                  <a:pt x="207636" y="266369"/>
                  <a:pt x="211236" y="262530"/>
                </a:cubicBezTo>
                <a:cubicBezTo>
                  <a:pt x="220437" y="252644"/>
                  <a:pt x="228410" y="241671"/>
                  <a:pt x="234953" y="229860"/>
                </a:cubicBezTo>
                <a:cubicBezTo>
                  <a:pt x="237316" y="225326"/>
                  <a:pt x="235677" y="219734"/>
                  <a:pt x="231239" y="217191"/>
                </a:cubicBezTo>
                <a:close/>
                <a:moveTo>
                  <a:pt x="89411" y="101748"/>
                </a:moveTo>
                <a:cubicBezTo>
                  <a:pt x="91183" y="104377"/>
                  <a:pt x="94145" y="105939"/>
                  <a:pt x="97317" y="105939"/>
                </a:cubicBezTo>
                <a:cubicBezTo>
                  <a:pt x="99213" y="105939"/>
                  <a:pt x="101070" y="105378"/>
                  <a:pt x="102651" y="104320"/>
                </a:cubicBezTo>
                <a:cubicBezTo>
                  <a:pt x="106995" y="101348"/>
                  <a:pt x="108099" y="95424"/>
                  <a:pt x="105128" y="91080"/>
                </a:cubicBezTo>
                <a:lnTo>
                  <a:pt x="76553" y="48408"/>
                </a:lnTo>
                <a:lnTo>
                  <a:pt x="8163" y="62791"/>
                </a:lnTo>
                <a:cubicBezTo>
                  <a:pt x="2953" y="63525"/>
                  <a:pt x="-676" y="68335"/>
                  <a:pt x="57" y="73545"/>
                </a:cubicBezTo>
                <a:cubicBezTo>
                  <a:pt x="781" y="78755"/>
                  <a:pt x="5601" y="82384"/>
                  <a:pt x="10811" y="81660"/>
                </a:cubicBezTo>
                <a:cubicBezTo>
                  <a:pt x="11268" y="81593"/>
                  <a:pt x="11716" y="81498"/>
                  <a:pt x="12164" y="81365"/>
                </a:cubicBezTo>
                <a:lnTo>
                  <a:pt x="67980" y="69649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0" cap="flat">
            <a:solidFill>
              <a:schemeClr val="accent4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4" name="Graphic 11">
            <a:extLst>
              <a:ext uri="{FF2B5EF4-FFF2-40B4-BE49-F238E27FC236}">
                <a16:creationId xmlns:a16="http://schemas.microsoft.com/office/drawing/2014/main" id="{8292A006-B06A-E2A9-88FF-B556258631DA}"/>
              </a:ext>
            </a:extLst>
          </p:cNvPr>
          <p:cNvSpPr/>
          <p:nvPr/>
        </p:nvSpPr>
        <p:spPr>
          <a:xfrm>
            <a:off x="3283897" y="3666232"/>
            <a:ext cx="1362775" cy="1367673"/>
          </a:xfrm>
          <a:custGeom>
            <a:avLst/>
            <a:gdLst>
              <a:gd name="connsiteX0" fmla="*/ 138839 w 1362775"/>
              <a:gd name="connsiteY0" fmla="*/ 831638 h 1367673"/>
              <a:gd name="connsiteX1" fmla="*/ 801905 w 1362775"/>
              <a:gd name="connsiteY1" fmla="*/ 852014 h 1367673"/>
              <a:gd name="connsiteX2" fmla="*/ 856421 w 1362775"/>
              <a:gd name="connsiteY2" fmla="*/ 906711 h 1367673"/>
              <a:gd name="connsiteX3" fmla="*/ 805255 w 1362775"/>
              <a:gd name="connsiteY3" fmla="*/ 960502 h 1367673"/>
              <a:gd name="connsiteX4" fmla="*/ 1179984 w 1362775"/>
              <a:gd name="connsiteY4" fmla="*/ 1336227 h 1367673"/>
              <a:gd name="connsiteX5" fmla="*/ 1331397 w 1362775"/>
              <a:gd name="connsiteY5" fmla="*/ 1336227 h 1367673"/>
              <a:gd name="connsiteX6" fmla="*/ 1331397 w 1362775"/>
              <a:gd name="connsiteY6" fmla="*/ 1184361 h 1367673"/>
              <a:gd name="connsiteX7" fmla="*/ 956397 w 1362775"/>
              <a:gd name="connsiteY7" fmla="*/ 808637 h 1367673"/>
              <a:gd name="connsiteX8" fmla="*/ 903058 w 1362775"/>
              <a:gd name="connsiteY8" fmla="*/ 862428 h 1367673"/>
              <a:gd name="connsiteX9" fmla="*/ 848270 w 1362775"/>
              <a:gd name="connsiteY9" fmla="*/ 807459 h 1367673"/>
              <a:gd name="connsiteX10" fmla="*/ 805165 w 1362775"/>
              <a:gd name="connsiteY10" fmla="*/ 121574 h 1367673"/>
              <a:gd name="connsiteX11" fmla="*/ 121090 w 1362775"/>
              <a:gd name="connsiteY11" fmla="*/ 164589 h 1367673"/>
              <a:gd name="connsiteX12" fmla="*/ 142462 w 1362775"/>
              <a:gd name="connsiteY12" fmla="*/ 830099 h 1367673"/>
              <a:gd name="connsiteX13" fmla="*/ 138839 w 1362775"/>
              <a:gd name="connsiteY13" fmla="*/ 831638 h 1367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62775" h="1367673">
                <a:moveTo>
                  <a:pt x="138839" y="831638"/>
                </a:moveTo>
                <a:cubicBezTo>
                  <a:pt x="319865" y="1012754"/>
                  <a:pt x="610194" y="1021719"/>
                  <a:pt x="801905" y="852014"/>
                </a:cubicBezTo>
                <a:lnTo>
                  <a:pt x="856421" y="906711"/>
                </a:lnTo>
                <a:lnTo>
                  <a:pt x="805255" y="960502"/>
                </a:lnTo>
                <a:lnTo>
                  <a:pt x="1179984" y="1336227"/>
                </a:lnTo>
                <a:cubicBezTo>
                  <a:pt x="1221822" y="1378155"/>
                  <a:pt x="1289650" y="1378155"/>
                  <a:pt x="1331397" y="1336227"/>
                </a:cubicBezTo>
                <a:cubicBezTo>
                  <a:pt x="1373235" y="1294299"/>
                  <a:pt x="1373235" y="1226290"/>
                  <a:pt x="1331397" y="1184361"/>
                </a:cubicBezTo>
                <a:lnTo>
                  <a:pt x="956397" y="808637"/>
                </a:lnTo>
                <a:lnTo>
                  <a:pt x="903058" y="862428"/>
                </a:lnTo>
                <a:lnTo>
                  <a:pt x="848270" y="807459"/>
                </a:lnTo>
                <a:cubicBezTo>
                  <a:pt x="1025221" y="606149"/>
                  <a:pt x="1005932" y="299067"/>
                  <a:pt x="805165" y="121574"/>
                </a:cubicBezTo>
                <a:cubicBezTo>
                  <a:pt x="604398" y="-56101"/>
                  <a:pt x="298131" y="-36721"/>
                  <a:pt x="121090" y="164589"/>
                </a:cubicBezTo>
                <a:cubicBezTo>
                  <a:pt x="-48253" y="357205"/>
                  <a:pt x="-38926" y="648711"/>
                  <a:pt x="142462" y="830099"/>
                </a:cubicBezTo>
                <a:lnTo>
                  <a:pt x="138839" y="831638"/>
                </a:lnTo>
                <a:close/>
              </a:path>
            </a:pathLst>
          </a:custGeom>
          <a:noFill/>
          <a:ln w="31750" cap="flat">
            <a:solidFill>
              <a:schemeClr val="accent4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BBB146-DF87-D10C-EA82-48B1AEF3E5B8}"/>
              </a:ext>
            </a:extLst>
          </p:cNvPr>
          <p:cNvGrpSpPr/>
          <p:nvPr/>
        </p:nvGrpSpPr>
        <p:grpSpPr>
          <a:xfrm>
            <a:off x="2632017" y="69654"/>
            <a:ext cx="176384" cy="157020"/>
            <a:chOff x="741810" y="17969"/>
            <a:chExt cx="253314" cy="225504"/>
          </a:xfrm>
        </p:grpSpPr>
        <p:sp>
          <p:nvSpPr>
            <p:cNvPr id="17" name="Graphic 27">
              <a:extLst>
                <a:ext uri="{FF2B5EF4-FFF2-40B4-BE49-F238E27FC236}">
                  <a16:creationId xmlns:a16="http://schemas.microsoft.com/office/drawing/2014/main" id="{77F3B058-64F3-39F3-0E5D-F6D63396799C}"/>
                </a:ext>
              </a:extLst>
            </p:cNvPr>
            <p:cNvSpPr/>
            <p:nvPr/>
          </p:nvSpPr>
          <p:spPr>
            <a:xfrm>
              <a:off x="741810" y="17969"/>
              <a:ext cx="253314" cy="225504"/>
            </a:xfrm>
            <a:custGeom>
              <a:avLst/>
              <a:gdLst>
                <a:gd name="connsiteX0" fmla="*/ 369721 w 406908"/>
                <a:gd name="connsiteY0" fmla="*/ -35 h 362237"/>
                <a:gd name="connsiteX1" fmla="*/ 37108 w 406908"/>
                <a:gd name="connsiteY1" fmla="*/ -35 h 362237"/>
                <a:gd name="connsiteX2" fmla="*/ -39 w 406908"/>
                <a:gd name="connsiteY2" fmla="*/ 36350 h 362237"/>
                <a:gd name="connsiteX3" fmla="*/ -39 w 406908"/>
                <a:gd name="connsiteY3" fmla="*/ 36350 h 362237"/>
                <a:gd name="connsiteX4" fmla="*/ -39 w 406908"/>
                <a:gd name="connsiteY4" fmla="*/ 284000 h 362237"/>
                <a:gd name="connsiteX5" fmla="*/ 22916 w 406908"/>
                <a:gd name="connsiteY5" fmla="*/ 306955 h 362237"/>
                <a:gd name="connsiteX6" fmla="*/ 161886 w 406908"/>
                <a:gd name="connsiteY6" fmla="*/ 306955 h 362237"/>
                <a:gd name="connsiteX7" fmla="*/ 152361 w 406908"/>
                <a:gd name="connsiteY7" fmla="*/ 343150 h 362237"/>
                <a:gd name="connsiteX8" fmla="*/ 120166 w 406908"/>
                <a:gd name="connsiteY8" fmla="*/ 343150 h 362237"/>
                <a:gd name="connsiteX9" fmla="*/ 110641 w 406908"/>
                <a:gd name="connsiteY9" fmla="*/ 352675 h 362237"/>
                <a:gd name="connsiteX10" fmla="*/ 120166 w 406908"/>
                <a:gd name="connsiteY10" fmla="*/ 362200 h 362237"/>
                <a:gd name="connsiteX11" fmla="*/ 286663 w 406908"/>
                <a:gd name="connsiteY11" fmla="*/ 362200 h 362237"/>
                <a:gd name="connsiteX12" fmla="*/ 296188 w 406908"/>
                <a:gd name="connsiteY12" fmla="*/ 352675 h 362237"/>
                <a:gd name="connsiteX13" fmla="*/ 286663 w 406908"/>
                <a:gd name="connsiteY13" fmla="*/ 343150 h 362237"/>
                <a:gd name="connsiteX14" fmla="*/ 257231 w 406908"/>
                <a:gd name="connsiteY14" fmla="*/ 343150 h 362237"/>
                <a:gd name="connsiteX15" fmla="*/ 248658 w 406908"/>
                <a:gd name="connsiteY15" fmla="*/ 306955 h 362237"/>
                <a:gd name="connsiteX16" fmla="*/ 382770 w 406908"/>
                <a:gd name="connsiteY16" fmla="*/ 306955 h 362237"/>
                <a:gd name="connsiteX17" fmla="*/ 406869 w 406908"/>
                <a:gd name="connsiteY17" fmla="*/ 283238 h 362237"/>
                <a:gd name="connsiteX18" fmla="*/ 406869 w 406908"/>
                <a:gd name="connsiteY18" fmla="*/ 36350 h 362237"/>
                <a:gd name="connsiteX19" fmla="*/ 369725 w 406908"/>
                <a:gd name="connsiteY19" fmla="*/ -35 h 362237"/>
                <a:gd name="connsiteX20" fmla="*/ 369721 w 406908"/>
                <a:gd name="connsiteY20" fmla="*/ -35 h 362237"/>
                <a:gd name="connsiteX21" fmla="*/ 37108 w 406908"/>
                <a:gd name="connsiteY21" fmla="*/ 19015 h 362237"/>
                <a:gd name="connsiteX22" fmla="*/ 369721 w 406908"/>
                <a:gd name="connsiteY22" fmla="*/ 19015 h 362237"/>
                <a:gd name="connsiteX23" fmla="*/ 387819 w 406908"/>
                <a:gd name="connsiteY23" fmla="*/ 36340 h 362237"/>
                <a:gd name="connsiteX24" fmla="*/ 387819 w 406908"/>
                <a:gd name="connsiteY24" fmla="*/ 36350 h 362237"/>
                <a:gd name="connsiteX25" fmla="*/ 387819 w 406908"/>
                <a:gd name="connsiteY25" fmla="*/ 230374 h 362237"/>
                <a:gd name="connsiteX26" fmla="*/ 19011 w 406908"/>
                <a:gd name="connsiteY26" fmla="*/ 230374 h 362237"/>
                <a:gd name="connsiteX27" fmla="*/ 19011 w 406908"/>
                <a:gd name="connsiteY27" fmla="*/ 36350 h 362237"/>
                <a:gd name="connsiteX28" fmla="*/ 37100 w 406908"/>
                <a:gd name="connsiteY28" fmla="*/ 19015 h 362237"/>
                <a:gd name="connsiteX29" fmla="*/ 37108 w 406908"/>
                <a:gd name="connsiteY29" fmla="*/ 19015 h 362237"/>
                <a:gd name="connsiteX30" fmla="*/ 237609 w 406908"/>
                <a:gd name="connsiteY30" fmla="*/ 343531 h 362237"/>
                <a:gd name="connsiteX31" fmla="*/ 171887 w 406908"/>
                <a:gd name="connsiteY31" fmla="*/ 343531 h 362237"/>
                <a:gd name="connsiteX32" fmla="*/ 181412 w 406908"/>
                <a:gd name="connsiteY32" fmla="*/ 307336 h 362237"/>
                <a:gd name="connsiteX33" fmla="*/ 229037 w 406908"/>
                <a:gd name="connsiteY33" fmla="*/ 307336 h 362237"/>
                <a:gd name="connsiteX34" fmla="*/ 382770 w 406908"/>
                <a:gd name="connsiteY34" fmla="*/ 288286 h 362237"/>
                <a:gd name="connsiteX35" fmla="*/ 22916 w 406908"/>
                <a:gd name="connsiteY35" fmla="*/ 288286 h 362237"/>
                <a:gd name="connsiteX36" fmla="*/ 19011 w 406908"/>
                <a:gd name="connsiteY36" fmla="*/ 284381 h 362237"/>
                <a:gd name="connsiteX37" fmla="*/ 19011 w 406908"/>
                <a:gd name="connsiteY37" fmla="*/ 249520 h 362237"/>
                <a:gd name="connsiteX38" fmla="*/ 387819 w 406908"/>
                <a:gd name="connsiteY38" fmla="*/ 249520 h 362237"/>
                <a:gd name="connsiteX39" fmla="*/ 387819 w 406908"/>
                <a:gd name="connsiteY39" fmla="*/ 283619 h 362237"/>
                <a:gd name="connsiteX40" fmla="*/ 382770 w 406908"/>
                <a:gd name="connsiteY40" fmla="*/ 288191 h 36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06908" h="362237">
                  <a:moveTo>
                    <a:pt x="369721" y="-35"/>
                  </a:moveTo>
                  <a:lnTo>
                    <a:pt x="37108" y="-35"/>
                  </a:lnTo>
                  <a:cubicBezTo>
                    <a:pt x="16804" y="-245"/>
                    <a:pt x="172" y="16043"/>
                    <a:pt x="-39" y="36350"/>
                  </a:cubicBezTo>
                  <a:cubicBezTo>
                    <a:pt x="-39" y="36350"/>
                    <a:pt x="-39" y="36350"/>
                    <a:pt x="-39" y="36350"/>
                  </a:cubicBezTo>
                  <a:lnTo>
                    <a:pt x="-39" y="284000"/>
                  </a:lnTo>
                  <a:cubicBezTo>
                    <a:pt x="-39" y="296678"/>
                    <a:pt x="10238" y="306955"/>
                    <a:pt x="22916" y="306955"/>
                  </a:cubicBezTo>
                  <a:lnTo>
                    <a:pt x="161886" y="306955"/>
                  </a:lnTo>
                  <a:lnTo>
                    <a:pt x="152361" y="343150"/>
                  </a:lnTo>
                  <a:lnTo>
                    <a:pt x="120166" y="343150"/>
                  </a:lnTo>
                  <a:cubicBezTo>
                    <a:pt x="114905" y="343150"/>
                    <a:pt x="110641" y="347417"/>
                    <a:pt x="110641" y="352675"/>
                  </a:cubicBezTo>
                  <a:cubicBezTo>
                    <a:pt x="110641" y="357933"/>
                    <a:pt x="114905" y="362200"/>
                    <a:pt x="120166" y="362200"/>
                  </a:cubicBezTo>
                  <a:lnTo>
                    <a:pt x="286663" y="362200"/>
                  </a:lnTo>
                  <a:cubicBezTo>
                    <a:pt x="291924" y="362200"/>
                    <a:pt x="296188" y="357933"/>
                    <a:pt x="296188" y="352675"/>
                  </a:cubicBezTo>
                  <a:cubicBezTo>
                    <a:pt x="296188" y="347417"/>
                    <a:pt x="291924" y="343150"/>
                    <a:pt x="286663" y="343150"/>
                  </a:cubicBezTo>
                  <a:lnTo>
                    <a:pt x="257231" y="343150"/>
                  </a:lnTo>
                  <a:lnTo>
                    <a:pt x="248658" y="306955"/>
                  </a:lnTo>
                  <a:lnTo>
                    <a:pt x="382770" y="306955"/>
                  </a:lnTo>
                  <a:cubicBezTo>
                    <a:pt x="395953" y="307012"/>
                    <a:pt x="406711" y="296421"/>
                    <a:pt x="406869" y="283238"/>
                  </a:cubicBezTo>
                  <a:lnTo>
                    <a:pt x="406869" y="36350"/>
                  </a:lnTo>
                  <a:cubicBezTo>
                    <a:pt x="406659" y="16043"/>
                    <a:pt x="390029" y="-245"/>
                    <a:pt x="369725" y="-35"/>
                  </a:cubicBezTo>
                  <a:cubicBezTo>
                    <a:pt x="369724" y="-35"/>
                    <a:pt x="369722" y="-35"/>
                    <a:pt x="369721" y="-35"/>
                  </a:cubicBezTo>
                  <a:close/>
                  <a:moveTo>
                    <a:pt x="37108" y="19015"/>
                  </a:moveTo>
                  <a:lnTo>
                    <a:pt x="369721" y="19015"/>
                  </a:lnTo>
                  <a:cubicBezTo>
                    <a:pt x="379503" y="18805"/>
                    <a:pt x="387606" y="26558"/>
                    <a:pt x="387819" y="36340"/>
                  </a:cubicBezTo>
                  <a:cubicBezTo>
                    <a:pt x="387819" y="36340"/>
                    <a:pt x="387819" y="36350"/>
                    <a:pt x="387819" y="36350"/>
                  </a:cubicBezTo>
                  <a:lnTo>
                    <a:pt x="387819" y="230374"/>
                  </a:lnTo>
                  <a:lnTo>
                    <a:pt x="19011" y="230374"/>
                  </a:lnTo>
                  <a:lnTo>
                    <a:pt x="19011" y="36350"/>
                  </a:lnTo>
                  <a:cubicBezTo>
                    <a:pt x="19218" y="26568"/>
                    <a:pt x="27317" y="18805"/>
                    <a:pt x="37100" y="19015"/>
                  </a:cubicBezTo>
                  <a:cubicBezTo>
                    <a:pt x="37102" y="19015"/>
                    <a:pt x="37105" y="19015"/>
                    <a:pt x="37108" y="19015"/>
                  </a:cubicBezTo>
                  <a:close/>
                  <a:moveTo>
                    <a:pt x="237609" y="343531"/>
                  </a:moveTo>
                  <a:lnTo>
                    <a:pt x="171887" y="343531"/>
                  </a:lnTo>
                  <a:lnTo>
                    <a:pt x="181412" y="307336"/>
                  </a:lnTo>
                  <a:lnTo>
                    <a:pt x="229037" y="307336"/>
                  </a:lnTo>
                  <a:close/>
                  <a:moveTo>
                    <a:pt x="382770" y="288286"/>
                  </a:moveTo>
                  <a:lnTo>
                    <a:pt x="22916" y="288286"/>
                  </a:lnTo>
                  <a:cubicBezTo>
                    <a:pt x="20759" y="288286"/>
                    <a:pt x="19011" y="286534"/>
                    <a:pt x="19011" y="284381"/>
                  </a:cubicBezTo>
                  <a:lnTo>
                    <a:pt x="19011" y="249520"/>
                  </a:lnTo>
                  <a:lnTo>
                    <a:pt x="387819" y="249520"/>
                  </a:lnTo>
                  <a:lnTo>
                    <a:pt x="387819" y="283619"/>
                  </a:lnTo>
                  <a:cubicBezTo>
                    <a:pt x="387665" y="286267"/>
                    <a:pt x="385418" y="288296"/>
                    <a:pt x="382770" y="28819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18" name="Graphic 27">
              <a:extLst>
                <a:ext uri="{FF2B5EF4-FFF2-40B4-BE49-F238E27FC236}">
                  <a16:creationId xmlns:a16="http://schemas.microsoft.com/office/drawing/2014/main" id="{D78B0BD8-99FA-F223-F0EA-CBF224DCBD64}"/>
                </a:ext>
              </a:extLst>
            </p:cNvPr>
            <p:cNvSpPr/>
            <p:nvPr/>
          </p:nvSpPr>
          <p:spPr>
            <a:xfrm>
              <a:off x="808739" y="36465"/>
              <a:ext cx="126764" cy="109286"/>
            </a:xfrm>
            <a:custGeom>
              <a:avLst/>
              <a:gdLst>
                <a:gd name="connsiteX0" fmla="*/ 407162 w 426243"/>
                <a:gd name="connsiteY0" fmla="*/ -32 h 367474"/>
                <a:gd name="connsiteX1" fmla="*/ 19018 w 426243"/>
                <a:gd name="connsiteY1" fmla="*/ -32 h 367474"/>
                <a:gd name="connsiteX2" fmla="*/ -32 w 426243"/>
                <a:gd name="connsiteY2" fmla="*/ 19018 h 367474"/>
                <a:gd name="connsiteX3" fmla="*/ -32 w 426243"/>
                <a:gd name="connsiteY3" fmla="*/ 348392 h 367474"/>
                <a:gd name="connsiteX4" fmla="*/ 19018 w 426243"/>
                <a:gd name="connsiteY4" fmla="*/ 367442 h 367474"/>
                <a:gd name="connsiteX5" fmla="*/ 407162 w 426243"/>
                <a:gd name="connsiteY5" fmla="*/ 367442 h 367474"/>
                <a:gd name="connsiteX6" fmla="*/ 426212 w 426243"/>
                <a:gd name="connsiteY6" fmla="*/ 348392 h 367474"/>
                <a:gd name="connsiteX7" fmla="*/ 426212 w 426243"/>
                <a:gd name="connsiteY7" fmla="*/ 19018 h 367474"/>
                <a:gd name="connsiteX8" fmla="*/ 407162 w 426243"/>
                <a:gd name="connsiteY8" fmla="*/ -32 h 367474"/>
                <a:gd name="connsiteX9" fmla="*/ 407162 w 426243"/>
                <a:gd name="connsiteY9" fmla="*/ 348392 h 367474"/>
                <a:gd name="connsiteX10" fmla="*/ 19018 w 426243"/>
                <a:gd name="connsiteY10" fmla="*/ 348392 h 367474"/>
                <a:gd name="connsiteX11" fmla="*/ 19018 w 426243"/>
                <a:gd name="connsiteY11" fmla="*/ 19018 h 367474"/>
                <a:gd name="connsiteX12" fmla="*/ 407162 w 426243"/>
                <a:gd name="connsiteY12" fmla="*/ 19018 h 367474"/>
                <a:gd name="connsiteX13" fmla="*/ 407162 w 426243"/>
                <a:gd name="connsiteY13" fmla="*/ 357917 h 367474"/>
                <a:gd name="connsiteX14" fmla="*/ 407162 w 426243"/>
                <a:gd name="connsiteY14" fmla="*/ 348392 h 367474"/>
                <a:gd name="connsiteX15" fmla="*/ 407162 w 426243"/>
                <a:gd name="connsiteY15" fmla="*/ 348392 h 367474"/>
                <a:gd name="connsiteX16" fmla="*/ 164560 w 426243"/>
                <a:gd name="connsiteY16" fmla="*/ 163893 h 367474"/>
                <a:gd name="connsiteX17" fmla="*/ 155035 w 426243"/>
                <a:gd name="connsiteY17" fmla="*/ 173418 h 367474"/>
                <a:gd name="connsiteX18" fmla="*/ 54546 w 426243"/>
                <a:gd name="connsiteY18" fmla="*/ 173418 h 367474"/>
                <a:gd name="connsiteX19" fmla="*/ 45021 w 426243"/>
                <a:gd name="connsiteY19" fmla="*/ 163893 h 367474"/>
                <a:gd name="connsiteX20" fmla="*/ 54546 w 426243"/>
                <a:gd name="connsiteY20" fmla="*/ 154368 h 367474"/>
                <a:gd name="connsiteX21" fmla="*/ 155035 w 426243"/>
                <a:gd name="connsiteY21" fmla="*/ 154368 h 367474"/>
                <a:gd name="connsiteX22" fmla="*/ 164560 w 426243"/>
                <a:gd name="connsiteY22" fmla="*/ 163893 h 367474"/>
                <a:gd name="connsiteX23" fmla="*/ 45021 w 426243"/>
                <a:gd name="connsiteY23" fmla="*/ 74263 h 367474"/>
                <a:gd name="connsiteX24" fmla="*/ 54546 w 426243"/>
                <a:gd name="connsiteY24" fmla="*/ 64738 h 367474"/>
                <a:gd name="connsiteX25" fmla="*/ 349821 w 426243"/>
                <a:gd name="connsiteY25" fmla="*/ 64738 h 367474"/>
                <a:gd name="connsiteX26" fmla="*/ 359346 w 426243"/>
                <a:gd name="connsiteY26" fmla="*/ 74263 h 367474"/>
                <a:gd name="connsiteX27" fmla="*/ 349821 w 426243"/>
                <a:gd name="connsiteY27" fmla="*/ 83788 h 367474"/>
                <a:gd name="connsiteX28" fmla="*/ 54546 w 426243"/>
                <a:gd name="connsiteY28" fmla="*/ 83788 h 367474"/>
                <a:gd name="connsiteX29" fmla="*/ 45021 w 426243"/>
                <a:gd name="connsiteY29" fmla="*/ 74263 h 367474"/>
                <a:gd name="connsiteX30" fmla="*/ 164560 w 426243"/>
                <a:gd name="connsiteY30" fmla="*/ 227901 h 367474"/>
                <a:gd name="connsiteX31" fmla="*/ 155035 w 426243"/>
                <a:gd name="connsiteY31" fmla="*/ 237426 h 367474"/>
                <a:gd name="connsiteX32" fmla="*/ 54546 w 426243"/>
                <a:gd name="connsiteY32" fmla="*/ 237426 h 367474"/>
                <a:gd name="connsiteX33" fmla="*/ 45021 w 426243"/>
                <a:gd name="connsiteY33" fmla="*/ 227901 h 367474"/>
                <a:gd name="connsiteX34" fmla="*/ 54546 w 426243"/>
                <a:gd name="connsiteY34" fmla="*/ 218376 h 367474"/>
                <a:gd name="connsiteX35" fmla="*/ 155035 w 426243"/>
                <a:gd name="connsiteY35" fmla="*/ 218376 h 367474"/>
                <a:gd name="connsiteX36" fmla="*/ 164560 w 426243"/>
                <a:gd name="connsiteY36" fmla="*/ 227901 h 367474"/>
                <a:gd name="connsiteX37" fmla="*/ 164560 w 426243"/>
                <a:gd name="connsiteY37" fmla="*/ 287147 h 367474"/>
                <a:gd name="connsiteX38" fmla="*/ 155035 w 426243"/>
                <a:gd name="connsiteY38" fmla="*/ 296672 h 367474"/>
                <a:gd name="connsiteX39" fmla="*/ 54546 w 426243"/>
                <a:gd name="connsiteY39" fmla="*/ 296672 h 367474"/>
                <a:gd name="connsiteX40" fmla="*/ 45021 w 426243"/>
                <a:gd name="connsiteY40" fmla="*/ 287147 h 367474"/>
                <a:gd name="connsiteX41" fmla="*/ 54546 w 426243"/>
                <a:gd name="connsiteY41" fmla="*/ 277622 h 367474"/>
                <a:gd name="connsiteX42" fmla="*/ 155035 w 426243"/>
                <a:gd name="connsiteY42" fmla="*/ 277622 h 367474"/>
                <a:gd name="connsiteX43" fmla="*/ 164560 w 426243"/>
                <a:gd name="connsiteY43" fmla="*/ 287147 h 367474"/>
                <a:gd name="connsiteX44" fmla="*/ 286194 w 426243"/>
                <a:gd name="connsiteY44" fmla="*/ 133127 h 367474"/>
                <a:gd name="connsiteX45" fmla="*/ 205137 w 426243"/>
                <a:gd name="connsiteY45" fmla="*/ 179895 h 367474"/>
                <a:gd name="connsiteX46" fmla="*/ 233159 w 426243"/>
                <a:gd name="connsiteY46" fmla="*/ 309311 h 367474"/>
                <a:gd name="connsiteX47" fmla="*/ 362575 w 426243"/>
                <a:gd name="connsiteY47" fmla="*/ 281289 h 367474"/>
                <a:gd name="connsiteX48" fmla="*/ 367062 w 426243"/>
                <a:gd name="connsiteY48" fmla="*/ 273526 h 367474"/>
                <a:gd name="connsiteX49" fmla="*/ 379539 w 426243"/>
                <a:gd name="connsiteY49" fmla="*/ 226758 h 367474"/>
                <a:gd name="connsiteX50" fmla="*/ 286194 w 426243"/>
                <a:gd name="connsiteY50" fmla="*/ 133127 h 367474"/>
                <a:gd name="connsiteX51" fmla="*/ 248952 w 426243"/>
                <a:gd name="connsiteY51" fmla="*/ 291338 h 367474"/>
                <a:gd name="connsiteX52" fmla="*/ 221615 w 426243"/>
                <a:gd name="connsiteY52" fmla="*/ 189420 h 367474"/>
                <a:gd name="connsiteX53" fmla="*/ 276669 w 426243"/>
                <a:gd name="connsiteY53" fmla="*/ 152749 h 367474"/>
                <a:gd name="connsiteX54" fmla="*/ 276669 w 426243"/>
                <a:gd name="connsiteY54" fmla="*/ 226758 h 367474"/>
                <a:gd name="connsiteX55" fmla="*/ 281432 w 426243"/>
                <a:gd name="connsiteY55" fmla="*/ 234949 h 367474"/>
                <a:gd name="connsiteX56" fmla="*/ 345535 w 426243"/>
                <a:gd name="connsiteY56" fmla="*/ 272002 h 367474"/>
                <a:gd name="connsiteX57" fmla="*/ 248952 w 426243"/>
                <a:gd name="connsiteY57" fmla="*/ 291338 h 367474"/>
                <a:gd name="connsiteX58" fmla="*/ 355155 w 426243"/>
                <a:gd name="connsiteY58" fmla="*/ 255523 h 367474"/>
                <a:gd name="connsiteX59" fmla="*/ 295719 w 426243"/>
                <a:gd name="connsiteY59" fmla="*/ 221234 h 367474"/>
                <a:gd name="connsiteX60" fmla="*/ 295719 w 426243"/>
                <a:gd name="connsiteY60" fmla="*/ 152749 h 367474"/>
                <a:gd name="connsiteX61" fmla="*/ 360775 w 426243"/>
                <a:gd name="connsiteY61" fmla="*/ 226758 h 367474"/>
                <a:gd name="connsiteX62" fmla="*/ 355155 w 426243"/>
                <a:gd name="connsiteY62" fmla="*/ 255523 h 367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26243" h="367474">
                  <a:moveTo>
                    <a:pt x="407162" y="-32"/>
                  </a:moveTo>
                  <a:lnTo>
                    <a:pt x="19018" y="-32"/>
                  </a:lnTo>
                  <a:cubicBezTo>
                    <a:pt x="8493" y="-32"/>
                    <a:pt x="-32" y="8493"/>
                    <a:pt x="-32" y="19018"/>
                  </a:cubicBezTo>
                  <a:lnTo>
                    <a:pt x="-32" y="348392"/>
                  </a:lnTo>
                  <a:cubicBezTo>
                    <a:pt x="-32" y="358917"/>
                    <a:pt x="8493" y="367442"/>
                    <a:pt x="19018" y="367442"/>
                  </a:cubicBezTo>
                  <a:lnTo>
                    <a:pt x="407162" y="367442"/>
                  </a:lnTo>
                  <a:cubicBezTo>
                    <a:pt x="417687" y="367442"/>
                    <a:pt x="426212" y="358917"/>
                    <a:pt x="426212" y="348392"/>
                  </a:cubicBezTo>
                  <a:lnTo>
                    <a:pt x="426212" y="19018"/>
                  </a:lnTo>
                  <a:cubicBezTo>
                    <a:pt x="426212" y="8493"/>
                    <a:pt x="417687" y="-32"/>
                    <a:pt x="407162" y="-32"/>
                  </a:cubicBezTo>
                  <a:close/>
                  <a:moveTo>
                    <a:pt x="407162" y="348392"/>
                  </a:moveTo>
                  <a:lnTo>
                    <a:pt x="19018" y="348392"/>
                  </a:lnTo>
                  <a:lnTo>
                    <a:pt x="19018" y="19018"/>
                  </a:lnTo>
                  <a:lnTo>
                    <a:pt x="407162" y="19018"/>
                  </a:lnTo>
                  <a:close/>
                  <a:moveTo>
                    <a:pt x="407162" y="357917"/>
                  </a:moveTo>
                  <a:lnTo>
                    <a:pt x="407162" y="348392"/>
                  </a:lnTo>
                  <a:lnTo>
                    <a:pt x="407162" y="348392"/>
                  </a:lnTo>
                  <a:close/>
                  <a:moveTo>
                    <a:pt x="164560" y="163893"/>
                  </a:moveTo>
                  <a:cubicBezTo>
                    <a:pt x="164560" y="169151"/>
                    <a:pt x="160293" y="173418"/>
                    <a:pt x="155035" y="173418"/>
                  </a:cubicBezTo>
                  <a:lnTo>
                    <a:pt x="54546" y="173418"/>
                  </a:lnTo>
                  <a:cubicBezTo>
                    <a:pt x="49288" y="173418"/>
                    <a:pt x="45021" y="169151"/>
                    <a:pt x="45021" y="163893"/>
                  </a:cubicBezTo>
                  <a:cubicBezTo>
                    <a:pt x="45021" y="158635"/>
                    <a:pt x="49288" y="154368"/>
                    <a:pt x="54546" y="154368"/>
                  </a:cubicBezTo>
                  <a:lnTo>
                    <a:pt x="155035" y="154368"/>
                  </a:lnTo>
                  <a:cubicBezTo>
                    <a:pt x="160293" y="154368"/>
                    <a:pt x="164560" y="158635"/>
                    <a:pt x="164560" y="163893"/>
                  </a:cubicBezTo>
                  <a:close/>
                  <a:moveTo>
                    <a:pt x="45021" y="74263"/>
                  </a:moveTo>
                  <a:cubicBezTo>
                    <a:pt x="45021" y="69005"/>
                    <a:pt x="49288" y="64738"/>
                    <a:pt x="54546" y="64738"/>
                  </a:cubicBezTo>
                  <a:lnTo>
                    <a:pt x="349821" y="64738"/>
                  </a:lnTo>
                  <a:cubicBezTo>
                    <a:pt x="355079" y="64738"/>
                    <a:pt x="359346" y="69005"/>
                    <a:pt x="359346" y="74263"/>
                  </a:cubicBezTo>
                  <a:cubicBezTo>
                    <a:pt x="359346" y="79521"/>
                    <a:pt x="355079" y="83788"/>
                    <a:pt x="349821" y="83788"/>
                  </a:cubicBezTo>
                  <a:lnTo>
                    <a:pt x="54546" y="83788"/>
                  </a:lnTo>
                  <a:cubicBezTo>
                    <a:pt x="49288" y="83788"/>
                    <a:pt x="45021" y="79521"/>
                    <a:pt x="45021" y="74263"/>
                  </a:cubicBezTo>
                  <a:close/>
                  <a:moveTo>
                    <a:pt x="164560" y="227901"/>
                  </a:moveTo>
                  <a:cubicBezTo>
                    <a:pt x="164560" y="233159"/>
                    <a:pt x="160293" y="237426"/>
                    <a:pt x="155035" y="237426"/>
                  </a:cubicBezTo>
                  <a:lnTo>
                    <a:pt x="54546" y="237426"/>
                  </a:lnTo>
                  <a:cubicBezTo>
                    <a:pt x="49288" y="237426"/>
                    <a:pt x="45021" y="233159"/>
                    <a:pt x="45021" y="227901"/>
                  </a:cubicBezTo>
                  <a:cubicBezTo>
                    <a:pt x="45021" y="222643"/>
                    <a:pt x="49288" y="218376"/>
                    <a:pt x="54546" y="218376"/>
                  </a:cubicBezTo>
                  <a:lnTo>
                    <a:pt x="155035" y="218376"/>
                  </a:lnTo>
                  <a:cubicBezTo>
                    <a:pt x="160293" y="218376"/>
                    <a:pt x="164560" y="222643"/>
                    <a:pt x="164560" y="227901"/>
                  </a:cubicBezTo>
                  <a:close/>
                  <a:moveTo>
                    <a:pt x="164560" y="287147"/>
                  </a:moveTo>
                  <a:cubicBezTo>
                    <a:pt x="164560" y="292404"/>
                    <a:pt x="160293" y="296672"/>
                    <a:pt x="155035" y="296672"/>
                  </a:cubicBezTo>
                  <a:lnTo>
                    <a:pt x="54546" y="296672"/>
                  </a:lnTo>
                  <a:cubicBezTo>
                    <a:pt x="49288" y="296672"/>
                    <a:pt x="45021" y="292404"/>
                    <a:pt x="45021" y="287147"/>
                  </a:cubicBezTo>
                  <a:cubicBezTo>
                    <a:pt x="45021" y="281889"/>
                    <a:pt x="49288" y="277622"/>
                    <a:pt x="54546" y="277622"/>
                  </a:cubicBezTo>
                  <a:lnTo>
                    <a:pt x="155035" y="277622"/>
                  </a:lnTo>
                  <a:cubicBezTo>
                    <a:pt x="160293" y="277622"/>
                    <a:pt x="164560" y="281889"/>
                    <a:pt x="164560" y="287147"/>
                  </a:cubicBezTo>
                  <a:close/>
                  <a:moveTo>
                    <a:pt x="286194" y="133127"/>
                  </a:moveTo>
                  <a:cubicBezTo>
                    <a:pt x="252647" y="132679"/>
                    <a:pt x="221539" y="150625"/>
                    <a:pt x="205137" y="179895"/>
                  </a:cubicBezTo>
                  <a:cubicBezTo>
                    <a:pt x="177133" y="223367"/>
                    <a:pt x="189677" y="281308"/>
                    <a:pt x="233159" y="309311"/>
                  </a:cubicBezTo>
                  <a:cubicBezTo>
                    <a:pt x="276631" y="337315"/>
                    <a:pt x="334572" y="324761"/>
                    <a:pt x="362575" y="281289"/>
                  </a:cubicBezTo>
                  <a:cubicBezTo>
                    <a:pt x="364194" y="278774"/>
                    <a:pt x="365690" y="276183"/>
                    <a:pt x="367062" y="273526"/>
                  </a:cubicBezTo>
                  <a:cubicBezTo>
                    <a:pt x="375386" y="259353"/>
                    <a:pt x="379701" y="243189"/>
                    <a:pt x="379539" y="226758"/>
                  </a:cubicBezTo>
                  <a:cubicBezTo>
                    <a:pt x="379492" y="175180"/>
                    <a:pt x="337772" y="133337"/>
                    <a:pt x="286194" y="133127"/>
                  </a:cubicBezTo>
                  <a:close/>
                  <a:moveTo>
                    <a:pt x="248952" y="291338"/>
                  </a:moveTo>
                  <a:cubicBezTo>
                    <a:pt x="213290" y="270716"/>
                    <a:pt x="201060" y="225120"/>
                    <a:pt x="221615" y="189420"/>
                  </a:cubicBezTo>
                  <a:cubicBezTo>
                    <a:pt x="233016" y="169065"/>
                    <a:pt x="253495" y="155425"/>
                    <a:pt x="276669" y="152749"/>
                  </a:cubicBezTo>
                  <a:lnTo>
                    <a:pt x="276669" y="226758"/>
                  </a:lnTo>
                  <a:cubicBezTo>
                    <a:pt x="276688" y="230139"/>
                    <a:pt x="278498" y="233254"/>
                    <a:pt x="281432" y="234949"/>
                  </a:cubicBezTo>
                  <a:lnTo>
                    <a:pt x="345535" y="272002"/>
                  </a:lnTo>
                  <a:cubicBezTo>
                    <a:pt x="322732" y="301739"/>
                    <a:pt x="281441" y="310006"/>
                    <a:pt x="248952" y="291338"/>
                  </a:cubicBezTo>
                  <a:close/>
                  <a:moveTo>
                    <a:pt x="355155" y="255523"/>
                  </a:moveTo>
                  <a:lnTo>
                    <a:pt x="295719" y="221234"/>
                  </a:lnTo>
                  <a:lnTo>
                    <a:pt x="295719" y="152749"/>
                  </a:lnTo>
                  <a:cubicBezTo>
                    <a:pt x="332914" y="157578"/>
                    <a:pt x="360756" y="189249"/>
                    <a:pt x="360775" y="226758"/>
                  </a:cubicBezTo>
                  <a:cubicBezTo>
                    <a:pt x="360937" y="236635"/>
                    <a:pt x="359022" y="246437"/>
                    <a:pt x="355155" y="255523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8BE288C-5243-42FB-A597-EE8197A265D0}"/>
              </a:ext>
            </a:extLst>
          </p:cNvPr>
          <p:cNvGrpSpPr/>
          <p:nvPr/>
        </p:nvGrpSpPr>
        <p:grpSpPr>
          <a:xfrm>
            <a:off x="8977016" y="2357074"/>
            <a:ext cx="3414379" cy="2744385"/>
            <a:chOff x="5756865" y="1658790"/>
            <a:chExt cx="2239439" cy="1800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581FBF5-B5F0-4F23-A826-92DD3876B46B}"/>
                </a:ext>
              </a:extLst>
            </p:cNvPr>
            <p:cNvSpPr/>
            <p:nvPr/>
          </p:nvSpPr>
          <p:spPr>
            <a:xfrm>
              <a:off x="5980191" y="1658790"/>
              <a:ext cx="1800000" cy="1800000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2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7C77B5-E6CD-468D-949B-822700068B48}"/>
                </a:ext>
              </a:extLst>
            </p:cNvPr>
            <p:cNvSpPr txBox="1"/>
            <p:nvPr/>
          </p:nvSpPr>
          <p:spPr>
            <a:xfrm>
              <a:off x="5756865" y="1968820"/>
              <a:ext cx="2239439" cy="1137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867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</a:rPr>
                <a:t>1,025</a:t>
              </a:r>
              <a:br>
                <a:rPr kumimoji="0" lang="en-GB" sz="5333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illion people </a:t>
              </a:r>
              <a:b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predicted to have </a:t>
              </a: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besity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 </a:t>
              </a:r>
              <a:b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by 2030</a:t>
              </a:r>
              <a:r>
                <a:rPr kumimoji="0" lang="en-GB" sz="1600" b="0" i="0" u="none" strike="noStrike" kern="1200" cap="none" spc="0" normalizeH="0" baseline="3000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10" name="Graphic 27">
            <a:extLst>
              <a:ext uri="{FF2B5EF4-FFF2-40B4-BE49-F238E27FC236}">
                <a16:creationId xmlns:a16="http://schemas.microsoft.com/office/drawing/2014/main" id="{22CE44BB-C0FF-8E6F-66B1-6A2F5AB5F084}"/>
              </a:ext>
            </a:extLst>
          </p:cNvPr>
          <p:cNvSpPr/>
          <p:nvPr/>
        </p:nvSpPr>
        <p:spPr>
          <a:xfrm>
            <a:off x="8920330" y="1856280"/>
            <a:ext cx="723458" cy="958546"/>
          </a:xfrm>
          <a:custGeom>
            <a:avLst/>
            <a:gdLst>
              <a:gd name="connsiteX0" fmla="*/ 137313 w 337378"/>
              <a:gd name="connsiteY0" fmla="*/ 130360 h 447008"/>
              <a:gd name="connsiteX1" fmla="*/ 137313 w 337378"/>
              <a:gd name="connsiteY1" fmla="*/ 298857 h 447008"/>
              <a:gd name="connsiteX2" fmla="*/ 116101 w 337378"/>
              <a:gd name="connsiteY2" fmla="*/ 318777 h 447008"/>
              <a:gd name="connsiteX3" fmla="*/ 115787 w 337378"/>
              <a:gd name="connsiteY3" fmla="*/ 318765 h 447008"/>
              <a:gd name="connsiteX4" fmla="*/ 95975 w 337378"/>
              <a:gd name="connsiteY4" fmla="*/ 318765 h 447008"/>
              <a:gd name="connsiteX5" fmla="*/ 95975 w 337378"/>
              <a:gd name="connsiteY5" fmla="*/ 437446 h 447008"/>
              <a:gd name="connsiteX6" fmla="*/ 86450 w 337378"/>
              <a:gd name="connsiteY6" fmla="*/ 446971 h 447008"/>
              <a:gd name="connsiteX7" fmla="*/ 76925 w 337378"/>
              <a:gd name="connsiteY7" fmla="*/ 437446 h 447008"/>
              <a:gd name="connsiteX8" fmla="*/ 76925 w 337378"/>
              <a:gd name="connsiteY8" fmla="*/ 299715 h 447008"/>
              <a:gd name="connsiteX9" fmla="*/ 115787 w 337378"/>
              <a:gd name="connsiteY9" fmla="*/ 299715 h 447008"/>
              <a:gd name="connsiteX10" fmla="*/ 118073 w 337378"/>
              <a:gd name="connsiteY10" fmla="*/ 298857 h 447008"/>
              <a:gd name="connsiteX11" fmla="*/ 118073 w 337378"/>
              <a:gd name="connsiteY11" fmla="*/ 130360 h 447008"/>
              <a:gd name="connsiteX12" fmla="*/ 115882 w 337378"/>
              <a:gd name="connsiteY12" fmla="*/ 129693 h 447008"/>
              <a:gd name="connsiteX13" fmla="*/ 21299 w 337378"/>
              <a:gd name="connsiteY13" fmla="*/ 129693 h 447008"/>
              <a:gd name="connsiteX14" fmla="*/ 19013 w 337378"/>
              <a:gd name="connsiteY14" fmla="*/ 130551 h 447008"/>
              <a:gd name="connsiteX15" fmla="*/ 19013 w 337378"/>
              <a:gd name="connsiteY15" fmla="*/ 298857 h 447008"/>
              <a:gd name="connsiteX16" fmla="*/ 21299 w 337378"/>
              <a:gd name="connsiteY16" fmla="*/ 299524 h 447008"/>
              <a:gd name="connsiteX17" fmla="*/ 60066 w 337378"/>
              <a:gd name="connsiteY17" fmla="*/ 299524 h 447008"/>
              <a:gd name="connsiteX18" fmla="*/ 60066 w 337378"/>
              <a:gd name="connsiteY18" fmla="*/ 437446 h 447008"/>
              <a:gd name="connsiteX19" fmla="*/ 50541 w 337378"/>
              <a:gd name="connsiteY19" fmla="*/ 446971 h 447008"/>
              <a:gd name="connsiteX20" fmla="*/ 41016 w 337378"/>
              <a:gd name="connsiteY20" fmla="*/ 437446 h 447008"/>
              <a:gd name="connsiteX21" fmla="*/ 41016 w 337378"/>
              <a:gd name="connsiteY21" fmla="*/ 318765 h 447008"/>
              <a:gd name="connsiteX22" fmla="*/ 21299 w 337378"/>
              <a:gd name="connsiteY22" fmla="*/ 318765 h 447008"/>
              <a:gd name="connsiteX23" fmla="*/ -37 w 337378"/>
              <a:gd name="connsiteY23" fmla="*/ 299048 h 447008"/>
              <a:gd name="connsiteX24" fmla="*/ -37 w 337378"/>
              <a:gd name="connsiteY24" fmla="*/ 130360 h 447008"/>
              <a:gd name="connsiteX25" fmla="*/ 21299 w 337378"/>
              <a:gd name="connsiteY25" fmla="*/ 110643 h 447008"/>
              <a:gd name="connsiteX26" fmla="*/ 115882 w 337378"/>
              <a:gd name="connsiteY26" fmla="*/ 110643 h 447008"/>
              <a:gd name="connsiteX27" fmla="*/ 137313 w 337378"/>
              <a:gd name="connsiteY27" fmla="*/ 130325 h 447008"/>
              <a:gd name="connsiteX28" fmla="*/ 137313 w 337378"/>
              <a:gd name="connsiteY28" fmla="*/ 130360 h 447008"/>
              <a:gd name="connsiteX29" fmla="*/ 24918 w 337378"/>
              <a:gd name="connsiteY29" fmla="*/ 43587 h 447008"/>
              <a:gd name="connsiteX30" fmla="*/ 68543 w 337378"/>
              <a:gd name="connsiteY30" fmla="*/ -37 h 447008"/>
              <a:gd name="connsiteX31" fmla="*/ 112167 w 337378"/>
              <a:gd name="connsiteY31" fmla="*/ 43587 h 447008"/>
              <a:gd name="connsiteX32" fmla="*/ 68543 w 337378"/>
              <a:gd name="connsiteY32" fmla="*/ 87212 h 447008"/>
              <a:gd name="connsiteX33" fmla="*/ 68448 w 337378"/>
              <a:gd name="connsiteY33" fmla="*/ 87212 h 447008"/>
              <a:gd name="connsiteX34" fmla="*/ 24918 w 337378"/>
              <a:gd name="connsiteY34" fmla="*/ 43587 h 447008"/>
              <a:gd name="connsiteX35" fmla="*/ 43968 w 337378"/>
              <a:gd name="connsiteY35" fmla="*/ 43587 h 447008"/>
              <a:gd name="connsiteX36" fmla="*/ 68448 w 337378"/>
              <a:gd name="connsiteY36" fmla="*/ 68257 h 447008"/>
              <a:gd name="connsiteX37" fmla="*/ 93117 w 337378"/>
              <a:gd name="connsiteY37" fmla="*/ 43778 h 447008"/>
              <a:gd name="connsiteX38" fmla="*/ 68638 w 337378"/>
              <a:gd name="connsiteY38" fmla="*/ 19108 h 447008"/>
              <a:gd name="connsiteX39" fmla="*/ 68448 w 337378"/>
              <a:gd name="connsiteY39" fmla="*/ 19108 h 447008"/>
              <a:gd name="connsiteX40" fmla="*/ 43968 w 337378"/>
              <a:gd name="connsiteY40" fmla="*/ 43587 h 447008"/>
              <a:gd name="connsiteX41" fmla="*/ 337338 w 337378"/>
              <a:gd name="connsiteY41" fmla="*/ 187986 h 447008"/>
              <a:gd name="connsiteX42" fmla="*/ 337338 w 337378"/>
              <a:gd name="connsiteY42" fmla="*/ 203512 h 447008"/>
              <a:gd name="connsiteX43" fmla="*/ 323622 w 337378"/>
              <a:gd name="connsiteY43" fmla="*/ 217608 h 447008"/>
              <a:gd name="connsiteX44" fmla="*/ 323527 w 337378"/>
              <a:gd name="connsiteY44" fmla="*/ 217609 h 447008"/>
              <a:gd name="connsiteX45" fmla="*/ 257805 w 337378"/>
              <a:gd name="connsiteY45" fmla="*/ 217609 h 447008"/>
              <a:gd name="connsiteX46" fmla="*/ 257805 w 337378"/>
              <a:gd name="connsiteY46" fmla="*/ 352388 h 447008"/>
              <a:gd name="connsiteX47" fmla="*/ 318288 w 337378"/>
              <a:gd name="connsiteY47" fmla="*/ 352388 h 447008"/>
              <a:gd name="connsiteX48" fmla="*/ 327813 w 337378"/>
              <a:gd name="connsiteY48" fmla="*/ 361913 h 447008"/>
              <a:gd name="connsiteX49" fmla="*/ 318288 w 337378"/>
              <a:gd name="connsiteY49" fmla="*/ 371438 h 447008"/>
              <a:gd name="connsiteX50" fmla="*/ 179223 w 337378"/>
              <a:gd name="connsiteY50" fmla="*/ 371438 h 447008"/>
              <a:gd name="connsiteX51" fmla="*/ 169698 w 337378"/>
              <a:gd name="connsiteY51" fmla="*/ 361913 h 447008"/>
              <a:gd name="connsiteX52" fmla="*/ 179223 w 337378"/>
              <a:gd name="connsiteY52" fmla="*/ 352388 h 447008"/>
              <a:gd name="connsiteX53" fmla="*/ 239231 w 337378"/>
              <a:gd name="connsiteY53" fmla="*/ 352388 h 447008"/>
              <a:gd name="connsiteX54" fmla="*/ 239231 w 337378"/>
              <a:gd name="connsiteY54" fmla="*/ 217609 h 447008"/>
              <a:gd name="connsiteX55" fmla="*/ 173413 w 337378"/>
              <a:gd name="connsiteY55" fmla="*/ 217609 h 447008"/>
              <a:gd name="connsiteX56" fmla="*/ 159602 w 337378"/>
              <a:gd name="connsiteY56" fmla="*/ 203609 h 447008"/>
              <a:gd name="connsiteX57" fmla="*/ 159602 w 337378"/>
              <a:gd name="connsiteY57" fmla="*/ 203512 h 447008"/>
              <a:gd name="connsiteX58" fmla="*/ 159602 w 337378"/>
              <a:gd name="connsiteY58" fmla="*/ 187986 h 447008"/>
              <a:gd name="connsiteX59" fmla="*/ 173413 w 337378"/>
              <a:gd name="connsiteY59" fmla="*/ 173794 h 447008"/>
              <a:gd name="connsiteX60" fmla="*/ 173413 w 337378"/>
              <a:gd name="connsiteY60" fmla="*/ 173794 h 447008"/>
              <a:gd name="connsiteX61" fmla="*/ 318288 w 337378"/>
              <a:gd name="connsiteY61" fmla="*/ 173794 h 447008"/>
              <a:gd name="connsiteX62" fmla="*/ 318288 w 337378"/>
              <a:gd name="connsiteY62" fmla="*/ 152458 h 447008"/>
              <a:gd name="connsiteX63" fmla="*/ 257805 w 337378"/>
              <a:gd name="connsiteY63" fmla="*/ 152458 h 447008"/>
              <a:gd name="connsiteX64" fmla="*/ 257805 w 337378"/>
              <a:gd name="connsiteY64" fmla="*/ 155316 h 447008"/>
              <a:gd name="connsiteX65" fmla="*/ 248280 w 337378"/>
              <a:gd name="connsiteY65" fmla="*/ 164841 h 447008"/>
              <a:gd name="connsiteX66" fmla="*/ 238755 w 337378"/>
              <a:gd name="connsiteY66" fmla="*/ 155316 h 447008"/>
              <a:gd name="connsiteX67" fmla="*/ 238755 w 337378"/>
              <a:gd name="connsiteY67" fmla="*/ 152458 h 447008"/>
              <a:gd name="connsiteX68" fmla="*/ 226087 w 337378"/>
              <a:gd name="connsiteY68" fmla="*/ 152458 h 447008"/>
              <a:gd name="connsiteX69" fmla="*/ 211609 w 337378"/>
              <a:gd name="connsiteY69" fmla="*/ 164650 h 447008"/>
              <a:gd name="connsiteX70" fmla="*/ 185319 w 337378"/>
              <a:gd name="connsiteY70" fmla="*/ 164650 h 447008"/>
              <a:gd name="connsiteX71" fmla="*/ 170842 w 337378"/>
              <a:gd name="connsiteY71" fmla="*/ 152458 h 447008"/>
              <a:gd name="connsiteX72" fmla="*/ 161983 w 337378"/>
              <a:gd name="connsiteY72" fmla="*/ 152458 h 447008"/>
              <a:gd name="connsiteX73" fmla="*/ 152458 w 337378"/>
              <a:gd name="connsiteY73" fmla="*/ 142933 h 447008"/>
              <a:gd name="connsiteX74" fmla="*/ 161983 w 337378"/>
              <a:gd name="connsiteY74" fmla="*/ 133408 h 447008"/>
              <a:gd name="connsiteX75" fmla="*/ 170842 w 337378"/>
              <a:gd name="connsiteY75" fmla="*/ 133408 h 447008"/>
              <a:gd name="connsiteX76" fmla="*/ 185319 w 337378"/>
              <a:gd name="connsiteY76" fmla="*/ 121311 h 447008"/>
              <a:gd name="connsiteX77" fmla="*/ 211609 w 337378"/>
              <a:gd name="connsiteY77" fmla="*/ 121311 h 447008"/>
              <a:gd name="connsiteX78" fmla="*/ 226087 w 337378"/>
              <a:gd name="connsiteY78" fmla="*/ 133408 h 447008"/>
              <a:gd name="connsiteX79" fmla="*/ 238755 w 337378"/>
              <a:gd name="connsiteY79" fmla="*/ 133408 h 447008"/>
              <a:gd name="connsiteX80" fmla="*/ 238755 w 337378"/>
              <a:gd name="connsiteY80" fmla="*/ 132646 h 447008"/>
              <a:gd name="connsiteX81" fmla="*/ 248280 w 337378"/>
              <a:gd name="connsiteY81" fmla="*/ 123121 h 447008"/>
              <a:gd name="connsiteX82" fmla="*/ 257805 w 337378"/>
              <a:gd name="connsiteY82" fmla="*/ 132646 h 447008"/>
              <a:gd name="connsiteX83" fmla="*/ 257805 w 337378"/>
              <a:gd name="connsiteY83" fmla="*/ 133408 h 447008"/>
              <a:gd name="connsiteX84" fmla="*/ 321527 w 337378"/>
              <a:gd name="connsiteY84" fmla="*/ 133408 h 447008"/>
              <a:gd name="connsiteX85" fmla="*/ 337338 w 337378"/>
              <a:gd name="connsiteY85" fmla="*/ 149886 h 447008"/>
              <a:gd name="connsiteX86" fmla="*/ 337338 w 337378"/>
              <a:gd name="connsiteY86" fmla="*/ 187986 h 447008"/>
              <a:gd name="connsiteX87" fmla="*/ 207798 w 337378"/>
              <a:gd name="connsiteY87" fmla="*/ 140361 h 447008"/>
              <a:gd name="connsiteX88" fmla="*/ 188748 w 337378"/>
              <a:gd name="connsiteY88" fmla="*/ 140361 h 447008"/>
              <a:gd name="connsiteX89" fmla="*/ 188748 w 337378"/>
              <a:gd name="connsiteY89" fmla="*/ 145600 h 447008"/>
              <a:gd name="connsiteX90" fmla="*/ 207798 w 337378"/>
              <a:gd name="connsiteY90" fmla="*/ 145600 h 447008"/>
              <a:gd name="connsiteX91" fmla="*/ 318288 w 337378"/>
              <a:gd name="connsiteY91" fmla="*/ 192844 h 447008"/>
              <a:gd name="connsiteX92" fmla="*/ 178557 w 337378"/>
              <a:gd name="connsiteY92" fmla="*/ 192844 h 447008"/>
              <a:gd name="connsiteX93" fmla="*/ 178557 w 337378"/>
              <a:gd name="connsiteY93" fmla="*/ 198559 h 447008"/>
              <a:gd name="connsiteX94" fmla="*/ 318288 w 337378"/>
              <a:gd name="connsiteY94" fmla="*/ 198559 h 447008"/>
              <a:gd name="connsiteX95" fmla="*/ 332100 w 337378"/>
              <a:gd name="connsiteY95" fmla="*/ 393822 h 447008"/>
              <a:gd name="connsiteX96" fmla="*/ 332100 w 337378"/>
              <a:gd name="connsiteY96" fmla="*/ 409252 h 447008"/>
              <a:gd name="connsiteX97" fmla="*/ 318955 w 337378"/>
              <a:gd name="connsiteY97" fmla="*/ 423540 h 447008"/>
              <a:gd name="connsiteX98" fmla="*/ 178271 w 337378"/>
              <a:gd name="connsiteY98" fmla="*/ 423540 h 447008"/>
              <a:gd name="connsiteX99" fmla="*/ 164746 w 337378"/>
              <a:gd name="connsiteY99" fmla="*/ 409347 h 447008"/>
              <a:gd name="connsiteX100" fmla="*/ 164746 w 337378"/>
              <a:gd name="connsiteY100" fmla="*/ 393822 h 447008"/>
              <a:gd name="connsiteX101" fmla="*/ 178271 w 337378"/>
              <a:gd name="connsiteY101" fmla="*/ 379629 h 447008"/>
              <a:gd name="connsiteX102" fmla="*/ 318955 w 337378"/>
              <a:gd name="connsiteY102" fmla="*/ 379629 h 447008"/>
              <a:gd name="connsiteX103" fmla="*/ 332481 w 337378"/>
              <a:gd name="connsiteY103" fmla="*/ 393822 h 447008"/>
              <a:gd name="connsiteX104" fmla="*/ 313050 w 337378"/>
              <a:gd name="connsiteY104" fmla="*/ 398679 h 447008"/>
              <a:gd name="connsiteX105" fmla="*/ 183796 w 337378"/>
              <a:gd name="connsiteY105" fmla="*/ 398679 h 447008"/>
              <a:gd name="connsiteX106" fmla="*/ 183796 w 337378"/>
              <a:gd name="connsiteY106" fmla="*/ 404490 h 447008"/>
              <a:gd name="connsiteX107" fmla="*/ 313431 w 337378"/>
              <a:gd name="connsiteY107" fmla="*/ 404490 h 447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37378" h="447008">
                <a:moveTo>
                  <a:pt x="137313" y="130360"/>
                </a:moveTo>
                <a:lnTo>
                  <a:pt x="137313" y="298857"/>
                </a:lnTo>
                <a:cubicBezTo>
                  <a:pt x="136961" y="310215"/>
                  <a:pt x="127465" y="319133"/>
                  <a:pt x="116101" y="318777"/>
                </a:cubicBezTo>
                <a:cubicBezTo>
                  <a:pt x="115996" y="318774"/>
                  <a:pt x="115892" y="318769"/>
                  <a:pt x="115787" y="318765"/>
                </a:cubicBezTo>
                <a:lnTo>
                  <a:pt x="95975" y="318765"/>
                </a:lnTo>
                <a:lnTo>
                  <a:pt x="95975" y="437446"/>
                </a:lnTo>
                <a:cubicBezTo>
                  <a:pt x="95975" y="442707"/>
                  <a:pt x="91708" y="446971"/>
                  <a:pt x="86450" y="446971"/>
                </a:cubicBezTo>
                <a:cubicBezTo>
                  <a:pt x="81192" y="446971"/>
                  <a:pt x="76925" y="442707"/>
                  <a:pt x="76925" y="437446"/>
                </a:cubicBezTo>
                <a:lnTo>
                  <a:pt x="76925" y="299715"/>
                </a:lnTo>
                <a:lnTo>
                  <a:pt x="115787" y="299715"/>
                </a:lnTo>
                <a:cubicBezTo>
                  <a:pt x="116644" y="299815"/>
                  <a:pt x="117492" y="299495"/>
                  <a:pt x="118073" y="298857"/>
                </a:cubicBezTo>
                <a:lnTo>
                  <a:pt x="118073" y="130360"/>
                </a:lnTo>
                <a:cubicBezTo>
                  <a:pt x="117425" y="129918"/>
                  <a:pt x="116663" y="129686"/>
                  <a:pt x="115882" y="129693"/>
                </a:cubicBezTo>
                <a:lnTo>
                  <a:pt x="21299" y="129693"/>
                </a:lnTo>
                <a:cubicBezTo>
                  <a:pt x="20451" y="129623"/>
                  <a:pt x="19613" y="129937"/>
                  <a:pt x="19013" y="130551"/>
                </a:cubicBezTo>
                <a:lnTo>
                  <a:pt x="19013" y="298857"/>
                </a:lnTo>
                <a:cubicBezTo>
                  <a:pt x="19670" y="299338"/>
                  <a:pt x="20480" y="299574"/>
                  <a:pt x="21299" y="299524"/>
                </a:cubicBezTo>
                <a:lnTo>
                  <a:pt x="60066" y="299524"/>
                </a:lnTo>
                <a:lnTo>
                  <a:pt x="60066" y="437446"/>
                </a:lnTo>
                <a:cubicBezTo>
                  <a:pt x="60066" y="442707"/>
                  <a:pt x="55799" y="446971"/>
                  <a:pt x="50541" y="446971"/>
                </a:cubicBezTo>
                <a:cubicBezTo>
                  <a:pt x="45283" y="446971"/>
                  <a:pt x="41016" y="442707"/>
                  <a:pt x="41016" y="437446"/>
                </a:cubicBezTo>
                <a:lnTo>
                  <a:pt x="41016" y="318765"/>
                </a:lnTo>
                <a:lnTo>
                  <a:pt x="21299" y="318765"/>
                </a:lnTo>
                <a:cubicBezTo>
                  <a:pt x="9974" y="319194"/>
                  <a:pt x="430" y="310376"/>
                  <a:pt x="-37" y="299048"/>
                </a:cubicBezTo>
                <a:lnTo>
                  <a:pt x="-37" y="130360"/>
                </a:lnTo>
                <a:cubicBezTo>
                  <a:pt x="430" y="119032"/>
                  <a:pt x="9974" y="110214"/>
                  <a:pt x="21299" y="110643"/>
                </a:cubicBezTo>
                <a:lnTo>
                  <a:pt x="115882" y="110643"/>
                </a:lnTo>
                <a:cubicBezTo>
                  <a:pt x="127236" y="110160"/>
                  <a:pt x="136828" y="118972"/>
                  <a:pt x="137313" y="130325"/>
                </a:cubicBezTo>
                <a:cubicBezTo>
                  <a:pt x="137313" y="130336"/>
                  <a:pt x="137313" y="130349"/>
                  <a:pt x="137313" y="130360"/>
                </a:cubicBezTo>
                <a:close/>
                <a:moveTo>
                  <a:pt x="24918" y="43587"/>
                </a:moveTo>
                <a:cubicBezTo>
                  <a:pt x="24918" y="19494"/>
                  <a:pt x="44454" y="-37"/>
                  <a:pt x="68543" y="-37"/>
                </a:cubicBezTo>
                <a:cubicBezTo>
                  <a:pt x="92632" y="-37"/>
                  <a:pt x="112167" y="19495"/>
                  <a:pt x="112167" y="43587"/>
                </a:cubicBezTo>
                <a:cubicBezTo>
                  <a:pt x="112167" y="67681"/>
                  <a:pt x="92632" y="87212"/>
                  <a:pt x="68543" y="87212"/>
                </a:cubicBezTo>
                <a:cubicBezTo>
                  <a:pt x="68514" y="87212"/>
                  <a:pt x="68476" y="87212"/>
                  <a:pt x="68448" y="87212"/>
                </a:cubicBezTo>
                <a:cubicBezTo>
                  <a:pt x="44388" y="87159"/>
                  <a:pt x="24918" y="67644"/>
                  <a:pt x="24918" y="43587"/>
                </a:cubicBezTo>
                <a:close/>
                <a:moveTo>
                  <a:pt x="43968" y="43587"/>
                </a:moveTo>
                <a:cubicBezTo>
                  <a:pt x="43911" y="57159"/>
                  <a:pt x="54875" y="68205"/>
                  <a:pt x="68448" y="68257"/>
                </a:cubicBezTo>
                <a:cubicBezTo>
                  <a:pt x="82021" y="68309"/>
                  <a:pt x="93060" y="57349"/>
                  <a:pt x="93117" y="43778"/>
                </a:cubicBezTo>
                <a:cubicBezTo>
                  <a:pt x="93165" y="30206"/>
                  <a:pt x="82211" y="19160"/>
                  <a:pt x="68638" y="19108"/>
                </a:cubicBezTo>
                <a:cubicBezTo>
                  <a:pt x="68572" y="19108"/>
                  <a:pt x="68514" y="19108"/>
                  <a:pt x="68448" y="19108"/>
                </a:cubicBezTo>
                <a:cubicBezTo>
                  <a:pt x="54951" y="19160"/>
                  <a:pt x="44016" y="30089"/>
                  <a:pt x="43968" y="43587"/>
                </a:cubicBezTo>
                <a:close/>
                <a:moveTo>
                  <a:pt x="337338" y="187986"/>
                </a:moveTo>
                <a:lnTo>
                  <a:pt x="337338" y="203512"/>
                </a:lnTo>
                <a:cubicBezTo>
                  <a:pt x="337443" y="211192"/>
                  <a:pt x="331300" y="217502"/>
                  <a:pt x="323622" y="217608"/>
                </a:cubicBezTo>
                <a:cubicBezTo>
                  <a:pt x="323594" y="217608"/>
                  <a:pt x="323556" y="217609"/>
                  <a:pt x="323527" y="217609"/>
                </a:cubicBezTo>
                <a:lnTo>
                  <a:pt x="257805" y="217609"/>
                </a:lnTo>
                <a:lnTo>
                  <a:pt x="257805" y="352388"/>
                </a:lnTo>
                <a:lnTo>
                  <a:pt x="318288" y="352388"/>
                </a:lnTo>
                <a:cubicBezTo>
                  <a:pt x="323546" y="352388"/>
                  <a:pt x="327813" y="356652"/>
                  <a:pt x="327813" y="361913"/>
                </a:cubicBezTo>
                <a:cubicBezTo>
                  <a:pt x="327813" y="367173"/>
                  <a:pt x="323546" y="371438"/>
                  <a:pt x="318288" y="371438"/>
                </a:cubicBezTo>
                <a:lnTo>
                  <a:pt x="179223" y="371438"/>
                </a:lnTo>
                <a:cubicBezTo>
                  <a:pt x="173966" y="371438"/>
                  <a:pt x="169698" y="367173"/>
                  <a:pt x="169698" y="361913"/>
                </a:cubicBezTo>
                <a:cubicBezTo>
                  <a:pt x="169698" y="356652"/>
                  <a:pt x="173966" y="352388"/>
                  <a:pt x="179223" y="352388"/>
                </a:cubicBezTo>
                <a:lnTo>
                  <a:pt x="239231" y="352388"/>
                </a:lnTo>
                <a:lnTo>
                  <a:pt x="239231" y="217609"/>
                </a:lnTo>
                <a:lnTo>
                  <a:pt x="173413" y="217609"/>
                </a:lnTo>
                <a:cubicBezTo>
                  <a:pt x="165736" y="217558"/>
                  <a:pt x="159545" y="211289"/>
                  <a:pt x="159602" y="203609"/>
                </a:cubicBezTo>
                <a:cubicBezTo>
                  <a:pt x="159602" y="203577"/>
                  <a:pt x="159602" y="203544"/>
                  <a:pt x="159602" y="203512"/>
                </a:cubicBezTo>
                <a:lnTo>
                  <a:pt x="159602" y="187986"/>
                </a:lnTo>
                <a:cubicBezTo>
                  <a:pt x="159497" y="180254"/>
                  <a:pt x="165679" y="173900"/>
                  <a:pt x="173413" y="173794"/>
                </a:cubicBezTo>
                <a:cubicBezTo>
                  <a:pt x="173413" y="173794"/>
                  <a:pt x="173413" y="173794"/>
                  <a:pt x="173413" y="173794"/>
                </a:cubicBezTo>
                <a:lnTo>
                  <a:pt x="318288" y="173794"/>
                </a:lnTo>
                <a:lnTo>
                  <a:pt x="318288" y="152458"/>
                </a:lnTo>
                <a:lnTo>
                  <a:pt x="257805" y="152458"/>
                </a:lnTo>
                <a:lnTo>
                  <a:pt x="257805" y="155316"/>
                </a:lnTo>
                <a:cubicBezTo>
                  <a:pt x="257805" y="160576"/>
                  <a:pt x="253538" y="164841"/>
                  <a:pt x="248280" y="164841"/>
                </a:cubicBezTo>
                <a:cubicBezTo>
                  <a:pt x="243022" y="164841"/>
                  <a:pt x="238755" y="160576"/>
                  <a:pt x="238755" y="155316"/>
                </a:cubicBezTo>
                <a:lnTo>
                  <a:pt x="238755" y="152458"/>
                </a:lnTo>
                <a:lnTo>
                  <a:pt x="226087" y="152458"/>
                </a:lnTo>
                <a:cubicBezTo>
                  <a:pt x="224581" y="159334"/>
                  <a:pt x="218638" y="164338"/>
                  <a:pt x="211609" y="164650"/>
                </a:cubicBezTo>
                <a:lnTo>
                  <a:pt x="185319" y="164650"/>
                </a:lnTo>
                <a:cubicBezTo>
                  <a:pt x="178290" y="164338"/>
                  <a:pt x="172346" y="159334"/>
                  <a:pt x="170842" y="152458"/>
                </a:cubicBezTo>
                <a:lnTo>
                  <a:pt x="161983" y="152458"/>
                </a:lnTo>
                <a:cubicBezTo>
                  <a:pt x="156725" y="152458"/>
                  <a:pt x="152458" y="148194"/>
                  <a:pt x="152458" y="142933"/>
                </a:cubicBezTo>
                <a:cubicBezTo>
                  <a:pt x="152458" y="137672"/>
                  <a:pt x="156725" y="133408"/>
                  <a:pt x="161983" y="133408"/>
                </a:cubicBezTo>
                <a:lnTo>
                  <a:pt x="170842" y="133408"/>
                </a:lnTo>
                <a:cubicBezTo>
                  <a:pt x="172385" y="126570"/>
                  <a:pt x="178319" y="121612"/>
                  <a:pt x="185319" y="121311"/>
                </a:cubicBezTo>
                <a:lnTo>
                  <a:pt x="211609" y="121311"/>
                </a:lnTo>
                <a:cubicBezTo>
                  <a:pt x="218609" y="121612"/>
                  <a:pt x="224543" y="126570"/>
                  <a:pt x="226087" y="133408"/>
                </a:cubicBezTo>
                <a:lnTo>
                  <a:pt x="238755" y="133408"/>
                </a:lnTo>
                <a:lnTo>
                  <a:pt x="238755" y="132646"/>
                </a:lnTo>
                <a:cubicBezTo>
                  <a:pt x="238755" y="127385"/>
                  <a:pt x="243022" y="123121"/>
                  <a:pt x="248280" y="123121"/>
                </a:cubicBezTo>
                <a:cubicBezTo>
                  <a:pt x="253538" y="123121"/>
                  <a:pt x="257805" y="127385"/>
                  <a:pt x="257805" y="132646"/>
                </a:cubicBezTo>
                <a:lnTo>
                  <a:pt x="257805" y="133408"/>
                </a:lnTo>
                <a:lnTo>
                  <a:pt x="321527" y="133408"/>
                </a:lnTo>
                <a:cubicBezTo>
                  <a:pt x="330433" y="133617"/>
                  <a:pt x="337500" y="140979"/>
                  <a:pt x="337338" y="149886"/>
                </a:cubicBezTo>
                <a:lnTo>
                  <a:pt x="337338" y="187986"/>
                </a:lnTo>
                <a:close/>
                <a:moveTo>
                  <a:pt x="207798" y="140361"/>
                </a:moveTo>
                <a:lnTo>
                  <a:pt x="188748" y="140361"/>
                </a:lnTo>
                <a:lnTo>
                  <a:pt x="188748" y="145600"/>
                </a:lnTo>
                <a:lnTo>
                  <a:pt x="207798" y="145600"/>
                </a:lnTo>
                <a:close/>
                <a:moveTo>
                  <a:pt x="318288" y="192844"/>
                </a:moveTo>
                <a:lnTo>
                  <a:pt x="178557" y="192844"/>
                </a:lnTo>
                <a:lnTo>
                  <a:pt x="178557" y="198559"/>
                </a:lnTo>
                <a:lnTo>
                  <a:pt x="318288" y="198559"/>
                </a:lnTo>
                <a:close/>
                <a:moveTo>
                  <a:pt x="332100" y="393822"/>
                </a:moveTo>
                <a:lnTo>
                  <a:pt x="332100" y="409252"/>
                </a:lnTo>
                <a:cubicBezTo>
                  <a:pt x="332319" y="416791"/>
                  <a:pt x="326489" y="423129"/>
                  <a:pt x="318955" y="423540"/>
                </a:cubicBezTo>
                <a:lnTo>
                  <a:pt x="178271" y="423540"/>
                </a:lnTo>
                <a:cubicBezTo>
                  <a:pt x="170632" y="423332"/>
                  <a:pt x="164584" y="416992"/>
                  <a:pt x="164746" y="409347"/>
                </a:cubicBezTo>
                <a:lnTo>
                  <a:pt x="164746" y="393822"/>
                </a:lnTo>
                <a:cubicBezTo>
                  <a:pt x="164584" y="386177"/>
                  <a:pt x="170632" y="379837"/>
                  <a:pt x="178271" y="379629"/>
                </a:cubicBezTo>
                <a:lnTo>
                  <a:pt x="318955" y="379629"/>
                </a:lnTo>
                <a:cubicBezTo>
                  <a:pt x="326594" y="379837"/>
                  <a:pt x="332643" y="386177"/>
                  <a:pt x="332481" y="393822"/>
                </a:cubicBezTo>
                <a:close/>
                <a:moveTo>
                  <a:pt x="313050" y="398679"/>
                </a:moveTo>
                <a:lnTo>
                  <a:pt x="183796" y="398679"/>
                </a:lnTo>
                <a:lnTo>
                  <a:pt x="183796" y="404490"/>
                </a:lnTo>
                <a:lnTo>
                  <a:pt x="313431" y="40449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2">
                <a:lumMod val="20000"/>
                <a:lumOff val="8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B51AB0DC-3253-463A-B78B-81CA281EE06F}"/>
              </a:ext>
            </a:extLst>
          </p:cNvPr>
          <p:cNvSpPr txBox="1"/>
          <p:nvPr/>
        </p:nvSpPr>
        <p:spPr>
          <a:xfrm>
            <a:off x="0" y="6556918"/>
            <a:ext cx="1219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 Materiale destinato unicamente agli operatori sanitari. Vietata la distribuzione o l'esposizione al pubblico.</a:t>
            </a:r>
          </a:p>
        </p:txBody>
      </p:sp>
    </p:spTree>
    <p:extLst>
      <p:ext uri="{BB962C8B-B14F-4D97-AF65-F5344CB8AC3E}">
        <p14:creationId xmlns:p14="http://schemas.microsoft.com/office/powerpoint/2010/main" val="1511103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7BDDBFD-BE64-AA98-E992-7BDAD1DC0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305" y="3298723"/>
            <a:ext cx="5112774" cy="3559277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87143768-F8D8-4A57-6A36-63468B0C59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3891" y="0"/>
            <a:ext cx="7608678" cy="318486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700C50C-F899-A095-6DF4-154E155E05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5201" y="3629061"/>
            <a:ext cx="5230761" cy="2812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302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9308F36D-429B-BDE1-EA28-B4F7652007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1358" y="0"/>
            <a:ext cx="8289283" cy="68580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3AB34ABB-232B-1636-5224-81B9547E0688}"/>
              </a:ext>
            </a:extLst>
          </p:cNvPr>
          <p:cNvSpPr txBox="1"/>
          <p:nvPr/>
        </p:nvSpPr>
        <p:spPr>
          <a:xfrm>
            <a:off x="0" y="5402401"/>
            <a:ext cx="22146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N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Engl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 J Med. 2023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Dec 14;389(24):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2221-2232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554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o 14">
            <a:extLst>
              <a:ext uri="{FF2B5EF4-FFF2-40B4-BE49-F238E27FC236}">
                <a16:creationId xmlns:a16="http://schemas.microsoft.com/office/drawing/2014/main" id="{F8DF6A92-F0CC-4818-6732-B2E2B3A66D56}"/>
              </a:ext>
            </a:extLst>
          </p:cNvPr>
          <p:cNvGrpSpPr/>
          <p:nvPr/>
        </p:nvGrpSpPr>
        <p:grpSpPr>
          <a:xfrm>
            <a:off x="58723" y="880377"/>
            <a:ext cx="12330152" cy="5097244"/>
            <a:chOff x="0" y="482674"/>
            <a:chExt cx="12330152" cy="5097244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0CA564A9-2AA0-1813-8CC3-6924CDBD1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30433" y="1086732"/>
              <a:ext cx="5827134" cy="4302447"/>
            </a:xfrm>
            <a:prstGeom prst="rect">
              <a:avLst/>
            </a:prstGeom>
          </p:spPr>
        </p:pic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54887C72-05C3-C620-5819-10A057164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95994"/>
              <a:ext cx="6319260" cy="4683924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AF26BC73-FA2E-5153-63B1-AC29B6387C2B}"/>
                </a:ext>
              </a:extLst>
            </p:cNvPr>
            <p:cNvSpPr txBox="1"/>
            <p:nvPr/>
          </p:nvSpPr>
          <p:spPr>
            <a:xfrm>
              <a:off x="464191" y="499168"/>
              <a:ext cx="318243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composite of death from cardiovascular causes</a:t>
              </a:r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432BB52B-3E49-63BB-F577-5920838DECBF}"/>
                </a:ext>
              </a:extLst>
            </p:cNvPr>
            <p:cNvSpPr txBox="1"/>
            <p:nvPr/>
          </p:nvSpPr>
          <p:spPr>
            <a:xfrm>
              <a:off x="4280482" y="507557"/>
              <a:ext cx="188542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cardiovascular death</a:t>
              </a: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053C3B60-8F5A-5318-C0C8-3A9BF6663EA3}"/>
                </a:ext>
              </a:extLst>
            </p:cNvPr>
            <p:cNvSpPr txBox="1"/>
            <p:nvPr/>
          </p:nvSpPr>
          <p:spPr>
            <a:xfrm>
              <a:off x="1159778" y="3152001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myocardial infarction</a:t>
              </a: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9381C0AF-AE3F-E54D-C782-F518735678F0}"/>
                </a:ext>
              </a:extLst>
            </p:cNvPr>
            <p:cNvSpPr txBox="1"/>
            <p:nvPr/>
          </p:nvSpPr>
          <p:spPr>
            <a:xfrm>
              <a:off x="4794561" y="3152001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stroke</a:t>
              </a: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69F8DF5B-340C-0FB3-103E-17DAE992CB38}"/>
                </a:ext>
              </a:extLst>
            </p:cNvPr>
            <p:cNvSpPr txBox="1"/>
            <p:nvPr/>
          </p:nvSpPr>
          <p:spPr>
            <a:xfrm>
              <a:off x="7885652" y="520326"/>
              <a:ext cx="537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200" b="1" dirty="0"/>
                <a:t>HbA1</a:t>
              </a:r>
              <a:endParaRPr lang="en-US" sz="1200" b="1" dirty="0"/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AEC277F8-50D0-9DBF-EDA9-E1F58C437185}"/>
                </a:ext>
              </a:extLst>
            </p:cNvPr>
            <p:cNvSpPr txBox="1"/>
            <p:nvPr/>
          </p:nvSpPr>
          <p:spPr>
            <a:xfrm>
              <a:off x="10142723" y="482674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body weight</a:t>
              </a: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461AB660-1571-4827-7312-BFD4B11922AA}"/>
                </a:ext>
              </a:extLst>
            </p:cNvPr>
            <p:cNvSpPr txBox="1"/>
            <p:nvPr/>
          </p:nvSpPr>
          <p:spPr>
            <a:xfrm>
              <a:off x="7324147" y="3158293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systolic blood pressure</a:t>
              </a:r>
            </a:p>
          </p:txBody>
        </p:sp>
      </p:grp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BEE5A204-D438-A51C-9799-1311DB4D627E}"/>
              </a:ext>
            </a:extLst>
          </p:cNvPr>
          <p:cNvSpPr txBox="1"/>
          <p:nvPr/>
        </p:nvSpPr>
        <p:spPr>
          <a:xfrm>
            <a:off x="10734577" y="3549704"/>
            <a:ext cx="218742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eGFR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B0E697B1-CC3C-661D-D1F6-9D8AB876BEE7}"/>
              </a:ext>
            </a:extLst>
          </p:cNvPr>
          <p:cNvSpPr txBox="1"/>
          <p:nvPr/>
        </p:nvSpPr>
        <p:spPr>
          <a:xfrm>
            <a:off x="475586" y="6415326"/>
            <a:ext cx="64595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Lancet. 2018 Oct 27;392(10157):1519-1529. </a:t>
            </a:r>
            <a:endParaRPr lang="en-US" dirty="0"/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CEB898E4-1EA2-9644-F8CB-FB5D662B48D3}"/>
              </a:ext>
            </a:extLst>
          </p:cNvPr>
          <p:cNvSpPr txBox="1"/>
          <p:nvPr/>
        </p:nvSpPr>
        <p:spPr>
          <a:xfrm>
            <a:off x="4905961" y="25061"/>
            <a:ext cx="21347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b="1" dirty="0"/>
              <a:t>ALBIGLUTID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85035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EA223129-5321-E5D0-CD2B-C739C55C0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7927"/>
            <a:ext cx="6629988" cy="4475242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54AD23F0-345D-AF0E-E4CD-2A483E3438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6737" y="665018"/>
            <a:ext cx="6275263" cy="4198151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2DA4240-A16B-9492-74FB-F7D45E7958B7}"/>
              </a:ext>
            </a:extLst>
          </p:cNvPr>
          <p:cNvSpPr txBox="1"/>
          <p:nvPr/>
        </p:nvSpPr>
        <p:spPr>
          <a:xfrm>
            <a:off x="533988" y="5869816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A Meta-Analysis with Meta-Regression. Diabetes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Ther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. 2020 Oct;11(10):2429-2440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7683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96542A19-4E35-63AE-0AED-66E2F92F29CF}"/>
              </a:ext>
            </a:extLst>
          </p:cNvPr>
          <p:cNvSpPr txBox="1"/>
          <p:nvPr/>
        </p:nvSpPr>
        <p:spPr>
          <a:xfrm>
            <a:off x="3224749" y="876258"/>
            <a:ext cx="609460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Of an estimated 687,866 patients at an annual 2435 hospitals, 69.9% underwent </a:t>
            </a:r>
            <a:r>
              <a:rPr lang="en-US" b="1" i="0" dirty="0">
                <a:solidFill>
                  <a:srgbClr val="0070C0"/>
                </a:solidFill>
                <a:effectLst/>
                <a:latin typeface="Google Sans"/>
              </a:rPr>
              <a:t>SG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 and 30.1% </a:t>
            </a:r>
            <a:r>
              <a:rPr lang="en-US" b="1" i="0" dirty="0">
                <a:solidFill>
                  <a:srgbClr val="7030A0"/>
                </a:solidFill>
                <a:effectLst/>
                <a:latin typeface="Google Sans"/>
              </a:rPr>
              <a:t>RYGB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, with 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median costs of </a:t>
            </a:r>
            <a:r>
              <a:rPr lang="en-US" b="1" i="0" dirty="0">
                <a:solidFill>
                  <a:srgbClr val="0070C0"/>
                </a:solidFill>
                <a:effectLst/>
                <a:latin typeface="Google Sans"/>
              </a:rPr>
              <a:t>$10,900 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(interquartile range: 8600-14,000) and </a:t>
            </a:r>
            <a:r>
              <a:rPr lang="en-US" b="1" i="0" dirty="0">
                <a:solidFill>
                  <a:srgbClr val="7030A0"/>
                </a:solidFill>
                <a:effectLst/>
                <a:latin typeface="Google Sans"/>
              </a:rPr>
              <a:t>$13,600 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(10,300-18,000)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, respectively.</a:t>
            </a:r>
            <a:endParaRPr lang="en-US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28002FF1-3CD8-67F3-12D6-DA6FB83CCAF7}"/>
              </a:ext>
            </a:extLst>
          </p:cNvPr>
          <p:cNvSpPr txBox="1"/>
          <p:nvPr/>
        </p:nvSpPr>
        <p:spPr>
          <a:xfrm>
            <a:off x="4204981" y="2343802"/>
            <a:ext cx="6094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m Surg. 2023 Oct;89(10):4061-4065.</a:t>
            </a:r>
          </a:p>
        </p:txBody>
      </p:sp>
      <p:graphicFrame>
        <p:nvGraphicFramePr>
          <p:cNvPr id="11" name="Tabella 11">
            <a:extLst>
              <a:ext uri="{FF2B5EF4-FFF2-40B4-BE49-F238E27FC236}">
                <a16:creationId xmlns:a16="http://schemas.microsoft.com/office/drawing/2014/main" id="{17DA1CE5-23C6-27E0-3521-F92963D43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670501"/>
              </p:ext>
            </p:extLst>
          </p:nvPr>
        </p:nvGraphicFramePr>
        <p:xfrm>
          <a:off x="2124279" y="4141470"/>
          <a:ext cx="8471016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36">
                  <a:extLst>
                    <a:ext uri="{9D8B030D-6E8A-4147-A177-3AD203B41FA5}">
                      <a16:colId xmlns:a16="http://schemas.microsoft.com/office/drawing/2014/main" val="3217956246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2948915807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123926227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082942351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2255917082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321719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U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German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mark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Ital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6404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 err="1"/>
                        <a:t>Semaglutide</a:t>
                      </a:r>
                      <a:endParaRPr lang="it-IT" b="1" dirty="0"/>
                    </a:p>
                    <a:p>
                      <a:r>
                        <a:rPr lang="it-IT" b="1" dirty="0"/>
                        <a:t>2.4 mg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69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162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91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438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5105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0889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 err="1"/>
                        <a:t>Tirzepatide</a:t>
                      </a:r>
                      <a:endParaRPr lang="it-IT" b="1" dirty="0"/>
                    </a:p>
                    <a:p>
                      <a:r>
                        <a:rPr lang="it-IT" b="1" dirty="0"/>
                        <a:t>15 mg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28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1282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33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8602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528655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1DE74EA0-C89B-42A8-EE99-3832E5FF9A59}"/>
              </a:ext>
            </a:extLst>
          </p:cNvPr>
          <p:cNvSpPr txBox="1"/>
          <p:nvPr/>
        </p:nvSpPr>
        <p:spPr>
          <a:xfrm>
            <a:off x="5144568" y="3606325"/>
            <a:ext cx="165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COST PER YEA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004849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o 12">
            <a:extLst>
              <a:ext uri="{FF2B5EF4-FFF2-40B4-BE49-F238E27FC236}">
                <a16:creationId xmlns:a16="http://schemas.microsoft.com/office/drawing/2014/main" id="{A5C12F7C-601A-74BE-B6AE-336C491A173C}"/>
              </a:ext>
            </a:extLst>
          </p:cNvPr>
          <p:cNvGrpSpPr/>
          <p:nvPr/>
        </p:nvGrpSpPr>
        <p:grpSpPr>
          <a:xfrm>
            <a:off x="4479633" y="0"/>
            <a:ext cx="6874168" cy="6766214"/>
            <a:chOff x="2927924" y="-1"/>
            <a:chExt cx="6874168" cy="6766214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C5136C1D-CBA2-E822-2913-9F8660AA7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4235927" y="-1291836"/>
              <a:ext cx="4274329" cy="6858000"/>
            </a:xfrm>
            <a:prstGeom prst="rect">
              <a:avLst/>
            </a:prstGeom>
          </p:spPr>
        </p:pic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D120CCA7-8919-D0AD-F2BA-1015FFC58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27924" y="4137313"/>
              <a:ext cx="6874168" cy="2628900"/>
            </a:xfrm>
            <a:prstGeom prst="rect">
              <a:avLst/>
            </a:prstGeom>
          </p:spPr>
        </p:pic>
      </p:grpSp>
      <p:pic>
        <p:nvPicPr>
          <p:cNvPr id="15" name="Immagine 14">
            <a:extLst>
              <a:ext uri="{FF2B5EF4-FFF2-40B4-BE49-F238E27FC236}">
                <a16:creationId xmlns:a16="http://schemas.microsoft.com/office/drawing/2014/main" id="{D391E344-C1D8-319E-D284-BAD59A9882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12655"/>
            <a:ext cx="442912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4416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3BA1F5E-F049-AF35-0FF5-2E054163C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1304" y="2252013"/>
            <a:ext cx="6731252" cy="3455137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58A5BD56-270B-D037-1F0D-D70E2904F99E}"/>
              </a:ext>
            </a:extLst>
          </p:cNvPr>
          <p:cNvSpPr txBox="1"/>
          <p:nvPr/>
        </p:nvSpPr>
        <p:spPr>
          <a:xfrm>
            <a:off x="3334183" y="5707150"/>
            <a:ext cx="5815482" cy="33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88" dirty="0"/>
              <a:t>Proportion of Patients Who Discontinued GLP-1 RA Therapy, n=4791. 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8391E381-7D54-DCAE-0002-6B0F859FD8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731" y="105512"/>
            <a:ext cx="5205313" cy="173510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BE025FD1-CADC-CB63-311D-5017945C38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2362" y="105512"/>
            <a:ext cx="1561594" cy="2229609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0C0675D-9CB6-BD79-3D7E-D49766EEA0D4}"/>
              </a:ext>
            </a:extLst>
          </p:cNvPr>
          <p:cNvSpPr txBox="1"/>
          <p:nvPr/>
        </p:nvSpPr>
        <p:spPr>
          <a:xfrm>
            <a:off x="2117498" y="6182197"/>
            <a:ext cx="8435778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88" dirty="0">
                <a:solidFill>
                  <a:srgbClr val="212121"/>
                </a:solidFill>
                <a:latin typeface="Cambria" panose="02040503050406030204" pitchFamily="18" charset="0"/>
              </a:rPr>
              <a:t>A total of 4791 T2DM patients had ≥1 and 3907 had ≥2 GLP-1 RA prescription claims. </a:t>
            </a:r>
            <a:r>
              <a:rPr lang="en-US" sz="1588" b="1" dirty="0">
                <a:solidFill>
                  <a:srgbClr val="212121"/>
                </a:solidFill>
                <a:latin typeface="Cambria" panose="02040503050406030204" pitchFamily="18" charset="0"/>
              </a:rPr>
              <a:t>50.9% and 47.4% of patients were adherent at 12 and 24 months, respectively. </a:t>
            </a:r>
            <a:endParaRPr lang="en-US" sz="1588" b="1" dirty="0"/>
          </a:p>
        </p:txBody>
      </p:sp>
    </p:spTree>
    <p:extLst>
      <p:ext uri="{BB962C8B-B14F-4D97-AF65-F5344CB8AC3E}">
        <p14:creationId xmlns:p14="http://schemas.microsoft.com/office/powerpoint/2010/main" val="2933500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>
            <a:extLst>
              <a:ext uri="{FF2B5EF4-FFF2-40B4-BE49-F238E27FC236}">
                <a16:creationId xmlns:a16="http://schemas.microsoft.com/office/drawing/2014/main" id="{9EEA7139-2748-5D3B-84BD-362EEC0F36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6732" y="110295"/>
            <a:ext cx="9363075" cy="677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pPr algn="ctr"/>
            <a:r>
              <a:rPr lang="en-GB" altLang="en-US" sz="1600" b="1" dirty="0">
                <a:latin typeface="Arial" panose="020B0604020202020204" pitchFamily="34" charset="0"/>
              </a:rPr>
              <a:t>Per cent of patients who were adherent to (n=530)† and discontinued (n=589) GLP-1 RA therapy at 12 and 24 months. †Adherence assessed among patients with two or more GLP-1 RA prescriptions.  UNITED ST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D0397-E56F-8CDA-AE4C-DC6F902C6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1974" y="5913401"/>
            <a:ext cx="1144587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57BF66-82B7-62AA-24EC-3478749F5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30" y="993338"/>
            <a:ext cx="8604250" cy="3603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 Box 4">
            <a:extLst>
              <a:ext uri="{FF2B5EF4-FFF2-40B4-BE49-F238E27FC236}">
                <a16:creationId xmlns:a16="http://schemas.microsoft.com/office/drawing/2014/main" id="{17007F2A-D1AA-E4D4-98E1-85144BA73C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7732" y="6272970"/>
            <a:ext cx="4319588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r>
              <a:rPr lang="en-GB" altLang="en-US" sz="1200" b="1">
                <a:latin typeface="Arial" panose="020B0604020202020204" pitchFamily="34" charset="0"/>
              </a:rPr>
              <a:t>Tracey Weiss et al. BMJ Open Diab Res Care 2022;10:e002517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8C98A95-8559-CF7F-28F4-936D2B065821}"/>
              </a:ext>
            </a:extLst>
          </p:cNvPr>
          <p:cNvSpPr txBox="1"/>
          <p:nvPr/>
        </p:nvSpPr>
        <p:spPr>
          <a:xfrm>
            <a:off x="1536730" y="4696302"/>
            <a:ext cx="78065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333333"/>
                </a:solidFill>
                <a:effectLst/>
                <a:latin typeface="interfaceregular"/>
              </a:rPr>
              <a:t>“A minority of patients initiating GLP-1 RAs achieved ≥5% weight loss, suggesting the real-world benefit of these agents on weight loss may be lower than that observed in clinical trials. Patients on GLP-1 RAs may benefit from additional support to improve long-term adherenc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82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C16BD77D-4BEB-E178-4D93-192F2FB5B2F3}"/>
              </a:ext>
            </a:extLst>
          </p:cNvPr>
          <p:cNvSpPr txBox="1"/>
          <p:nvPr/>
        </p:nvSpPr>
        <p:spPr>
          <a:xfrm>
            <a:off x="3877745" y="2407632"/>
            <a:ext cx="4436512" cy="38556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38" dirty="0">
                <a:ea typeface="Calibri" panose="020F0502020204030204" pitchFamily="34" charset="0"/>
              </a:rPr>
              <a:t>Consulting fees from Novo Nordisk, Eli Lilly, Boehringer Ingelheim, Medtronic, </a:t>
            </a:r>
            <a:r>
              <a:rPr lang="en-GB" sz="2038" dirty="0" err="1">
                <a:ea typeface="Calibri" panose="020F0502020204030204" pitchFamily="34" charset="0"/>
              </a:rPr>
              <a:t>Fractyl</a:t>
            </a:r>
            <a:r>
              <a:rPr lang="en-GB" sz="2038" dirty="0">
                <a:ea typeface="Calibri" panose="020F0502020204030204" pitchFamily="34" charset="0"/>
              </a:rPr>
              <a:t> Inc, and </a:t>
            </a:r>
            <a:r>
              <a:rPr lang="en-GB" sz="2038" dirty="0" err="1">
                <a:ea typeface="Calibri" panose="020F0502020204030204" pitchFamily="34" charset="0"/>
              </a:rPr>
              <a:t>Recor</a:t>
            </a:r>
            <a:r>
              <a:rPr lang="en-GB" sz="2038" dirty="0">
                <a:ea typeface="Calibri" panose="020F0502020204030204" pitchFamily="34" charset="0"/>
              </a:rPr>
              <a:t> Inc. </a:t>
            </a:r>
          </a:p>
          <a:p>
            <a:endParaRPr lang="en-GB" sz="2038" dirty="0">
              <a:ea typeface="Calibri" panose="020F0502020204030204" pitchFamily="34" charset="0"/>
            </a:endParaRPr>
          </a:p>
          <a:p>
            <a:r>
              <a:rPr lang="en-GB" sz="2038" dirty="0">
                <a:ea typeface="Calibri" panose="020F0502020204030204" pitchFamily="34" charset="0"/>
              </a:rPr>
              <a:t>Scientific advisor of </a:t>
            </a:r>
            <a:r>
              <a:rPr lang="en-GB" sz="2038" dirty="0" err="1">
                <a:ea typeface="Calibri" panose="020F0502020204030204" pitchFamily="34" charset="0"/>
              </a:rPr>
              <a:t>Metadeq</a:t>
            </a:r>
            <a:r>
              <a:rPr lang="en-GB" sz="2038" dirty="0">
                <a:ea typeface="Calibri" panose="020F0502020204030204" pitchFamily="34" charset="0"/>
              </a:rPr>
              <a:t> Inc., </a:t>
            </a:r>
            <a:r>
              <a:rPr lang="en-GB" sz="2038" dirty="0" err="1">
                <a:ea typeface="Calibri" panose="020F0502020204030204" pitchFamily="34" charset="0"/>
              </a:rPr>
              <a:t>Keyron</a:t>
            </a:r>
            <a:r>
              <a:rPr lang="en-GB" sz="2038" dirty="0">
                <a:ea typeface="Calibri" panose="020F0502020204030204" pitchFamily="34" charset="0"/>
              </a:rPr>
              <a:t> Ltd, GHP Scientific Ltd, and </a:t>
            </a:r>
            <a:r>
              <a:rPr lang="en-GB" sz="2038" dirty="0" err="1">
                <a:ea typeface="Calibri" panose="020F0502020204030204" pitchFamily="34" charset="0"/>
              </a:rPr>
              <a:t>Jemyll</a:t>
            </a:r>
            <a:r>
              <a:rPr lang="en-GB" sz="2038" dirty="0">
                <a:ea typeface="Calibri" panose="020F0502020204030204" pitchFamily="34" charset="0"/>
              </a:rPr>
              <a:t> Ltd.</a:t>
            </a:r>
          </a:p>
          <a:p>
            <a:endParaRPr lang="en-GB" sz="2038" dirty="0"/>
          </a:p>
          <a:p>
            <a:r>
              <a:rPr lang="en-GB" sz="2038" dirty="0"/>
              <a:t>Grants from </a:t>
            </a:r>
            <a:r>
              <a:rPr lang="en-GB" sz="2038" dirty="0" err="1"/>
              <a:t>Fractyl</a:t>
            </a:r>
            <a:r>
              <a:rPr lang="en-GB" sz="2038" dirty="0"/>
              <a:t> Inc.,</a:t>
            </a:r>
            <a:r>
              <a:rPr lang="en-GB" sz="2038" dirty="0" err="1"/>
              <a:t>Metadeq</a:t>
            </a:r>
            <a:r>
              <a:rPr lang="en-GB" sz="2038" dirty="0"/>
              <a:t> Inc., </a:t>
            </a:r>
            <a:r>
              <a:rPr lang="en-GB" sz="2038" dirty="0" err="1">
                <a:ea typeface="Calibri" panose="020F0502020204030204" pitchFamily="34" charset="0"/>
              </a:rPr>
              <a:t>Keyron</a:t>
            </a:r>
            <a:r>
              <a:rPr lang="en-GB" sz="2038" dirty="0">
                <a:ea typeface="Calibri" panose="020F0502020204030204" pitchFamily="34" charset="0"/>
              </a:rPr>
              <a:t> Ltd, GHP Scientific Ltd, and </a:t>
            </a:r>
            <a:r>
              <a:rPr lang="en-GB" sz="2038" dirty="0" err="1">
                <a:ea typeface="Calibri" panose="020F0502020204030204" pitchFamily="34" charset="0"/>
              </a:rPr>
              <a:t>Jemyll</a:t>
            </a:r>
            <a:r>
              <a:rPr lang="en-GB" sz="2038" dirty="0">
                <a:ea typeface="Calibri" panose="020F0502020204030204" pitchFamily="34" charset="0"/>
              </a:rPr>
              <a:t> Ltd.</a:t>
            </a:r>
          </a:p>
          <a:p>
            <a:endParaRPr lang="en-US" sz="2038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18C2B78-1398-6B82-4A43-4D85C335F7A8}"/>
              </a:ext>
            </a:extLst>
          </p:cNvPr>
          <p:cNvSpPr txBox="1"/>
          <p:nvPr/>
        </p:nvSpPr>
        <p:spPr>
          <a:xfrm>
            <a:off x="3876728" y="1451959"/>
            <a:ext cx="4049057" cy="585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3" dirty="0"/>
              <a:t>CONFLICT OF INTEREST</a:t>
            </a:r>
            <a:endParaRPr lang="en-US" sz="3203" dirty="0"/>
          </a:p>
        </p:txBody>
      </p:sp>
    </p:spTree>
    <p:extLst>
      <p:ext uri="{BB962C8B-B14F-4D97-AF65-F5344CB8AC3E}">
        <p14:creationId xmlns:p14="http://schemas.microsoft.com/office/powerpoint/2010/main" val="31645752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4DB3413-7067-59B5-EBE3-0ED80DADFB8E}"/>
              </a:ext>
            </a:extLst>
          </p:cNvPr>
          <p:cNvSpPr txBox="1"/>
          <p:nvPr/>
        </p:nvSpPr>
        <p:spPr>
          <a:xfrm>
            <a:off x="4060271" y="251670"/>
            <a:ext cx="350666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400" dirty="0"/>
              <a:t>CONCLUSIONS</a:t>
            </a:r>
            <a:endParaRPr lang="en-US" sz="44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9114E5E-AB79-8804-380D-1D18F3DEECD3}"/>
              </a:ext>
            </a:extLst>
          </p:cNvPr>
          <p:cNvSpPr txBox="1"/>
          <p:nvPr/>
        </p:nvSpPr>
        <p:spPr>
          <a:xfrm>
            <a:off x="771787" y="1417739"/>
            <a:ext cx="10648877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LP-1 receptor agonists (GLP-1 RAs), along with dual GLP-1 and GIP receptor agonists, and triple agonists </a:t>
            </a:r>
          </a:p>
          <a:p>
            <a:r>
              <a:rPr lang="en-US" dirty="0"/>
              <a:t>targeting GIP, GLP-1, and glucagon receptors, have been shown to significantly reduce appetite and enhance </a:t>
            </a:r>
          </a:p>
          <a:p>
            <a:r>
              <a:rPr lang="en-US" dirty="0"/>
              <a:t>feelings of satiety, resulting in high weight loss.</a:t>
            </a:r>
          </a:p>
          <a:p>
            <a:endParaRPr lang="en-US" dirty="0"/>
          </a:p>
          <a:p>
            <a:r>
              <a:rPr lang="en-US" dirty="0"/>
              <a:t>The weight loss effect is generally more pronounced in individuals with obesity alone compared to those </a:t>
            </a:r>
          </a:p>
          <a:p>
            <a:r>
              <a:rPr lang="en-US" dirty="0"/>
              <a:t>with both obesity and type 2 diabetes. However, despite the difference in weight loss, their impact on </a:t>
            </a:r>
          </a:p>
          <a:p>
            <a:r>
              <a:rPr lang="en-US" dirty="0"/>
              <a:t>glycemic control in individuals with type 2 diabetes appears to be largely independent of weight reduction. </a:t>
            </a:r>
          </a:p>
          <a:p>
            <a:r>
              <a:rPr lang="en-US" dirty="0"/>
              <a:t>Even with less pronounced weight loss, these agents still achieve substantial reductions in glycated hemoglobin </a:t>
            </a:r>
          </a:p>
          <a:p>
            <a:r>
              <a:rPr lang="en-US" dirty="0"/>
              <a:t>(HbA1c), highlighting their potent glucose-lowering effects.</a:t>
            </a:r>
          </a:p>
          <a:p>
            <a:endParaRPr lang="en-US" dirty="0"/>
          </a:p>
          <a:p>
            <a:r>
              <a:rPr lang="en-US" dirty="0"/>
              <a:t>In addition, certain GLP-1 RAs, such as </a:t>
            </a:r>
            <a:r>
              <a:rPr lang="en-US" dirty="0" err="1"/>
              <a:t>semaglutide</a:t>
            </a:r>
            <a:r>
              <a:rPr lang="en-US" dirty="0"/>
              <a:t> (at a dose of 2.4 mg) and albiglutide, demonstrate </a:t>
            </a:r>
          </a:p>
          <a:p>
            <a:r>
              <a:rPr lang="en-US" dirty="0"/>
              <a:t>benefits that extend beyond weight loss. These molecules appear to exert a direct cardioprotective effect, </a:t>
            </a:r>
          </a:p>
          <a:p>
            <a:r>
              <a:rPr lang="en-US" dirty="0"/>
              <a:t>acting on the heart and arteries, further supporting their role in reducing cardiovascular risks in patients </a:t>
            </a:r>
          </a:p>
          <a:p>
            <a:r>
              <a:rPr lang="en-US" dirty="0"/>
              <a:t>with obesity and diabetes. This suggests that the therapeutic advantages of these agents encompass </a:t>
            </a:r>
          </a:p>
          <a:p>
            <a:r>
              <a:rPr lang="en-US" dirty="0"/>
              <a:t>both metabolic and cardiovascular improvements, making them highly valuable in managing these condi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9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840"/>
    </mc:Choice>
    <mc:Fallback xmlns="">
      <p:transition spd="slow" advTm="6584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C2B94608-DA7B-4ED5-B4FB-558C58D65F35}"/>
              </a:ext>
            </a:extLst>
          </p:cNvPr>
          <p:cNvSpPr txBox="1"/>
          <p:nvPr/>
        </p:nvSpPr>
        <p:spPr>
          <a:xfrm rot="21154697">
            <a:off x="3129410" y="2937934"/>
            <a:ext cx="516660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600" b="1" dirty="0">
                <a:latin typeface="Brush Script MT" panose="03060802040406070304" pitchFamily="66" charset="0"/>
              </a:rPr>
              <a:t>Thank </a:t>
            </a:r>
            <a:r>
              <a:rPr lang="it-IT" sz="9600" b="1" dirty="0" err="1">
                <a:latin typeface="Brush Script MT" panose="03060802040406070304" pitchFamily="66" charset="0"/>
              </a:rPr>
              <a:t>you</a:t>
            </a:r>
            <a:r>
              <a:rPr lang="it-IT" sz="9600" b="1" dirty="0">
                <a:latin typeface="Brush Script MT" panose="03060802040406070304" pitchFamily="66" charset="0"/>
              </a:rPr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3921628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88D4235-EE69-5120-3A15-8C907F05E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112" y="12501"/>
            <a:ext cx="4918446" cy="21225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2D7E165-2730-88C4-053F-9BCE89B0B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80" y="3630098"/>
            <a:ext cx="4227383" cy="324964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765A59A-64AF-267A-2F8E-58E186C03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054" y="269096"/>
            <a:ext cx="4221726" cy="336039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69C550EC-6D01-161C-3470-9E1CE6555B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112" y="3399171"/>
            <a:ext cx="4918446" cy="253093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63F03CA0-D075-FC41-DBEA-F16E4A707DD3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5478175" y="60305"/>
            <a:ext cx="6639761" cy="6318508"/>
          </a:xfrm>
          <a:prstGeom prst="rect">
            <a:avLst/>
          </a:prstGeom>
          <a:ln>
            <a:noFill/>
          </a:ln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9D0F601-4620-DAE5-E982-D4BAD506B1A3}"/>
              </a:ext>
            </a:extLst>
          </p:cNvPr>
          <p:cNvSpPr txBox="1"/>
          <p:nvPr/>
        </p:nvSpPr>
        <p:spPr>
          <a:xfrm>
            <a:off x="3482784" y="6616110"/>
            <a:ext cx="5029148" cy="2456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98" dirty="0">
                <a:latin typeface="ff-scala-sans-pro"/>
              </a:rPr>
              <a:t>Frias JP et al N </a:t>
            </a:r>
            <a:r>
              <a:rPr lang="en-US" sz="998" dirty="0" err="1">
                <a:latin typeface="ff-scala-sans-pro"/>
              </a:rPr>
              <a:t>Engl</a:t>
            </a:r>
            <a:r>
              <a:rPr lang="en-US" sz="998" dirty="0">
                <a:latin typeface="ff-scala-sans-pro"/>
              </a:rPr>
              <a:t> J Med 2021; 385:503-515</a:t>
            </a:r>
            <a:endParaRPr lang="en-US" sz="998" dirty="0"/>
          </a:p>
        </p:txBody>
      </p:sp>
      <p:sp>
        <p:nvSpPr>
          <p:cNvPr id="12" name="TextShape 1">
            <a:extLst>
              <a:ext uri="{FF2B5EF4-FFF2-40B4-BE49-F238E27FC236}">
                <a16:creationId xmlns:a16="http://schemas.microsoft.com/office/drawing/2014/main" id="{292D4E1A-B2E0-D4EA-77A8-F22AB7DE4D43}"/>
              </a:ext>
            </a:extLst>
          </p:cNvPr>
          <p:cNvSpPr txBox="1"/>
          <p:nvPr/>
        </p:nvSpPr>
        <p:spPr>
          <a:xfrm>
            <a:off x="7996936" y="6378813"/>
            <a:ext cx="7020000" cy="5364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pPr>
              <a:lnSpc>
                <a:spcPct val="97000"/>
              </a:lnSpc>
            </a:pPr>
            <a:r>
              <a:rPr lang="en-US" sz="900" strike="noStrike" spc="-1" dirty="0">
                <a:latin typeface="Arial"/>
                <a:ea typeface="Arial Unicode MS"/>
              </a:rPr>
              <a:t>AM </a:t>
            </a:r>
            <a:r>
              <a:rPr lang="en-US" sz="900" strike="noStrike" spc="-1" dirty="0" err="1">
                <a:latin typeface="Arial"/>
                <a:ea typeface="Arial Unicode MS"/>
              </a:rPr>
              <a:t>Jastreboff</a:t>
            </a:r>
            <a:r>
              <a:rPr lang="en-US" sz="900" strike="noStrike" spc="-1" dirty="0">
                <a:latin typeface="Arial"/>
                <a:ea typeface="Arial Unicode MS"/>
              </a:rPr>
              <a:t> et al.  397, P293-304, JANUARY 23, 2021 N </a:t>
            </a:r>
            <a:r>
              <a:rPr lang="en-US" sz="900" strike="noStrike" spc="-1" dirty="0" err="1">
                <a:latin typeface="Arial"/>
                <a:ea typeface="Arial Unicode MS"/>
              </a:rPr>
              <a:t>Engl</a:t>
            </a:r>
            <a:r>
              <a:rPr lang="en-US" sz="900" strike="noStrike" spc="-1" dirty="0">
                <a:latin typeface="Arial"/>
                <a:ea typeface="Arial Unicode MS"/>
              </a:rPr>
              <a:t> J Med 2022.</a:t>
            </a:r>
            <a:endParaRPr lang="en-US" sz="900" strike="noStrike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2692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schermata, Parallelo, diagramma&#10;&#10;Descrizione generata automaticamente">
            <a:extLst>
              <a:ext uri="{FF2B5EF4-FFF2-40B4-BE49-F238E27FC236}">
                <a16:creationId xmlns:a16="http://schemas.microsoft.com/office/drawing/2014/main" id="{F236753A-8428-5F44-5383-A7B3CB215B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118" y="0"/>
            <a:ext cx="4969764" cy="6858000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0C41BCCE-8191-D93E-96E5-F86D8DFAC8A3}"/>
              </a:ext>
            </a:extLst>
          </p:cNvPr>
          <p:cNvSpPr txBox="1"/>
          <p:nvPr/>
        </p:nvSpPr>
        <p:spPr>
          <a:xfrm>
            <a:off x="111853" y="6283295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N </a:t>
            </a:r>
            <a:r>
              <a:rPr lang="en-US" b="1" i="0" dirty="0" err="1">
                <a:solidFill>
                  <a:srgbClr val="4D4D4D"/>
                </a:solidFill>
                <a:effectLst/>
                <a:latin typeface="OTNEJMScalaSansLF"/>
              </a:rPr>
              <a:t>Engl</a:t>
            </a:r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 J Med 2021;384:989-1002</a:t>
            </a: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74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88C5E6F0-C000-49B6-8211-DCB431A451CA}"/>
              </a:ext>
            </a:extLst>
          </p:cNvPr>
          <p:cNvSpPr txBox="1"/>
          <p:nvPr/>
        </p:nvSpPr>
        <p:spPr>
          <a:xfrm>
            <a:off x="3073397" y="1888069"/>
            <a:ext cx="1790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Weight </a:t>
            </a:r>
            <a:r>
              <a:rPr lang="it-IT" b="1" dirty="0" err="1"/>
              <a:t>loss</a:t>
            </a:r>
            <a:r>
              <a:rPr lang="it-IT" b="1" dirty="0"/>
              <a:t> &lt; 5%</a:t>
            </a:r>
          </a:p>
        </p:txBody>
      </p:sp>
      <p:cxnSp>
        <p:nvCxnSpPr>
          <p:cNvPr id="7" name="Connettore 2 6">
            <a:extLst>
              <a:ext uri="{FF2B5EF4-FFF2-40B4-BE49-F238E27FC236}">
                <a16:creationId xmlns:a16="http://schemas.microsoft.com/office/drawing/2014/main" id="{0B0B5290-14C6-49B1-B7FD-076947867D01}"/>
              </a:ext>
            </a:extLst>
          </p:cNvPr>
          <p:cNvCxnSpPr>
            <a:stCxn id="5" idx="3"/>
          </p:cNvCxnSpPr>
          <p:nvPr/>
        </p:nvCxnSpPr>
        <p:spPr>
          <a:xfrm flipV="1">
            <a:off x="4863567" y="1498603"/>
            <a:ext cx="902230" cy="574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11986D7A-4886-4197-8C93-791D3BDF6F5E}"/>
              </a:ext>
            </a:extLst>
          </p:cNvPr>
          <p:cNvCxnSpPr>
            <a:stCxn id="5" idx="3"/>
          </p:cNvCxnSpPr>
          <p:nvPr/>
        </p:nvCxnSpPr>
        <p:spPr>
          <a:xfrm>
            <a:off x="4863567" y="2072735"/>
            <a:ext cx="902230" cy="518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F057656-E95E-4A93-9466-F194C230CB9F}"/>
              </a:ext>
            </a:extLst>
          </p:cNvPr>
          <p:cNvSpPr txBox="1"/>
          <p:nvPr/>
        </p:nvSpPr>
        <p:spPr>
          <a:xfrm>
            <a:off x="5850463" y="13139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∽12% of individuals with overweight/obesity without T2D</a:t>
            </a:r>
            <a:endParaRPr lang="it-IT" dirty="0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3749D4EB-56CC-4662-A883-4088F14D8CC1}"/>
              </a:ext>
            </a:extLst>
          </p:cNvPr>
          <p:cNvSpPr/>
          <p:nvPr/>
        </p:nvSpPr>
        <p:spPr>
          <a:xfrm>
            <a:off x="406399" y="1628235"/>
            <a:ext cx="1778000" cy="889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6AEA5104-7235-40B3-904E-DDC6CF0F2943}"/>
              </a:ext>
            </a:extLst>
          </p:cNvPr>
          <p:cNvSpPr txBox="1"/>
          <p:nvPr/>
        </p:nvSpPr>
        <p:spPr>
          <a:xfrm>
            <a:off x="508068" y="1841902"/>
            <a:ext cx="15746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b="1" dirty="0">
                <a:solidFill>
                  <a:schemeClr val="bg1"/>
                </a:solidFill>
              </a:rPr>
              <a:t>STEP trials 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FAA2AAD-60A9-4FDA-AA66-4766183C7066}"/>
              </a:ext>
            </a:extLst>
          </p:cNvPr>
          <p:cNvSpPr txBox="1"/>
          <p:nvPr/>
        </p:nvSpPr>
        <p:spPr>
          <a:xfrm>
            <a:off x="5892798" y="24061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∽21% of individuals with overweight/obesity and T2D</a:t>
            </a:r>
            <a:endParaRPr lang="it-IT" b="1" dirty="0">
              <a:solidFill>
                <a:srgbClr val="FF0000"/>
              </a:solidFill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F2310C77-D4FC-437F-ADD2-B2966FA4CB66}"/>
              </a:ext>
            </a:extLst>
          </p:cNvPr>
          <p:cNvSpPr/>
          <p:nvPr/>
        </p:nvSpPr>
        <p:spPr>
          <a:xfrm>
            <a:off x="369913" y="4145575"/>
            <a:ext cx="1778000" cy="1038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SURMOUNT/</a:t>
            </a:r>
          </a:p>
          <a:p>
            <a:pPr algn="ctr"/>
            <a:r>
              <a:rPr lang="it-IT" sz="2000" b="1" dirty="0"/>
              <a:t>SURPASS trials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500B490-0F3A-4972-9DA9-55E388CB1DB6}"/>
              </a:ext>
            </a:extLst>
          </p:cNvPr>
          <p:cNvSpPr txBox="1"/>
          <p:nvPr/>
        </p:nvSpPr>
        <p:spPr>
          <a:xfrm>
            <a:off x="3158063" y="4305872"/>
            <a:ext cx="1790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Weight </a:t>
            </a:r>
            <a:r>
              <a:rPr lang="it-IT" b="1" dirty="0" err="1"/>
              <a:t>loss</a:t>
            </a:r>
            <a:r>
              <a:rPr lang="it-IT" b="1" dirty="0"/>
              <a:t> &lt; 5%</a:t>
            </a:r>
          </a:p>
        </p:txBody>
      </p:sp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61165132-3099-4889-A7D8-AF2CA81CC602}"/>
              </a:ext>
            </a:extLst>
          </p:cNvPr>
          <p:cNvCxnSpPr>
            <a:stCxn id="17" idx="3"/>
          </p:cNvCxnSpPr>
          <p:nvPr/>
        </p:nvCxnSpPr>
        <p:spPr>
          <a:xfrm flipV="1">
            <a:off x="4948233" y="3916406"/>
            <a:ext cx="902230" cy="574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2 18">
            <a:extLst>
              <a:ext uri="{FF2B5EF4-FFF2-40B4-BE49-F238E27FC236}">
                <a16:creationId xmlns:a16="http://schemas.microsoft.com/office/drawing/2014/main" id="{83773A57-5995-470B-9628-E35638E024A4}"/>
              </a:ext>
            </a:extLst>
          </p:cNvPr>
          <p:cNvCxnSpPr>
            <a:stCxn id="17" idx="3"/>
          </p:cNvCxnSpPr>
          <p:nvPr/>
        </p:nvCxnSpPr>
        <p:spPr>
          <a:xfrm>
            <a:off x="4948233" y="4490538"/>
            <a:ext cx="902230" cy="518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A18D3CFC-3845-48B6-9E09-256EE78D09CB}"/>
              </a:ext>
            </a:extLst>
          </p:cNvPr>
          <p:cNvSpPr txBox="1"/>
          <p:nvPr/>
        </p:nvSpPr>
        <p:spPr>
          <a:xfrm>
            <a:off x="5892798" y="372533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∽6% of individuals with overweight/obesity without T2D</a:t>
            </a:r>
            <a:endParaRPr lang="it-IT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EE280225-BD06-4B22-BF42-77E0DBB5D0DF}"/>
              </a:ext>
            </a:extLst>
          </p:cNvPr>
          <p:cNvSpPr txBox="1"/>
          <p:nvPr/>
        </p:nvSpPr>
        <p:spPr>
          <a:xfrm>
            <a:off x="5935133" y="481753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∽18% of individuals with overweight/obesity and T2D</a:t>
            </a:r>
            <a:endParaRPr lang="it-IT" b="1" dirty="0">
              <a:solidFill>
                <a:srgbClr val="FF0000"/>
              </a:solidFill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AF0FA74-9791-4035-8DBC-5842416C99FC}"/>
              </a:ext>
            </a:extLst>
          </p:cNvPr>
          <p:cNvSpPr txBox="1"/>
          <p:nvPr/>
        </p:nvSpPr>
        <p:spPr>
          <a:xfrm>
            <a:off x="2682131" y="2245840"/>
            <a:ext cx="2536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with </a:t>
            </a:r>
            <a:r>
              <a:rPr lang="it-IT" b="1" dirty="0" err="1"/>
              <a:t>semaglutide</a:t>
            </a:r>
            <a:r>
              <a:rPr lang="it-IT" b="1" dirty="0"/>
              <a:t> 2.4 mg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EC997133-BB55-470B-BB63-4D340AF171E5}"/>
              </a:ext>
            </a:extLst>
          </p:cNvPr>
          <p:cNvSpPr txBox="1"/>
          <p:nvPr/>
        </p:nvSpPr>
        <p:spPr>
          <a:xfrm>
            <a:off x="2850925" y="4698079"/>
            <a:ext cx="2335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with </a:t>
            </a:r>
            <a:r>
              <a:rPr lang="it-IT" b="1" dirty="0" err="1"/>
              <a:t>tirzepatide</a:t>
            </a:r>
            <a:r>
              <a:rPr lang="it-IT" b="1" dirty="0"/>
              <a:t> 15 mg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BD66BB5A-4357-4F81-8717-0A6CEC6F6EDA}"/>
              </a:ext>
            </a:extLst>
          </p:cNvPr>
          <p:cNvSpPr txBox="1"/>
          <p:nvPr/>
        </p:nvSpPr>
        <p:spPr>
          <a:xfrm>
            <a:off x="254000" y="6156410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Lancet Reg Health Eur. 2024 Nov 9;47:101100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839460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976216A4-9970-44F7-A193-829CC2A2D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04" y="1680918"/>
            <a:ext cx="9259592" cy="3496163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E3743EA0-C642-43D0-A2C2-98E32A42C4AC}"/>
              </a:ext>
            </a:extLst>
          </p:cNvPr>
          <p:cNvSpPr txBox="1"/>
          <p:nvPr/>
        </p:nvSpPr>
        <p:spPr>
          <a:xfrm>
            <a:off x="177800" y="627923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b="0" i="0" dirty="0">
                <a:solidFill>
                  <a:srgbClr val="212121"/>
                </a:solidFill>
                <a:effectLst/>
                <a:latin typeface="BlinkMacSystemFont"/>
              </a:rPr>
              <a:t>Lancet. 2022 </a:t>
            </a:r>
            <a:r>
              <a:rPr lang="it-IT" sz="1200" b="0" i="0" dirty="0" err="1">
                <a:solidFill>
                  <a:srgbClr val="212121"/>
                </a:solidFill>
                <a:effectLst/>
                <a:latin typeface="BlinkMacSystemFont"/>
              </a:rPr>
              <a:t>Nov</a:t>
            </a:r>
            <a:r>
              <a:rPr lang="it-IT" sz="1200" b="0" i="0" dirty="0">
                <a:solidFill>
                  <a:srgbClr val="212121"/>
                </a:solidFill>
                <a:effectLst/>
                <a:latin typeface="BlinkMacSystemFont"/>
              </a:rPr>
              <a:t> 26;400(10366):1869-1881</a:t>
            </a:r>
            <a:endParaRPr lang="it-IT" sz="1200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148B4861-C293-4324-BAAE-B32468838105}"/>
              </a:ext>
            </a:extLst>
          </p:cNvPr>
          <p:cNvSpPr txBox="1"/>
          <p:nvPr/>
        </p:nvSpPr>
        <p:spPr>
          <a:xfrm>
            <a:off x="4170681" y="440267"/>
            <a:ext cx="4473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RETATRUTIDE IN TYPE 2 DIABETES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C0FDDA97-F6DD-43A8-946C-A8D12941F960}"/>
              </a:ext>
            </a:extLst>
          </p:cNvPr>
          <p:cNvSpPr txBox="1"/>
          <p:nvPr/>
        </p:nvSpPr>
        <p:spPr>
          <a:xfrm>
            <a:off x="2641600" y="5358825"/>
            <a:ext cx="7264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0070C0"/>
                </a:solidFill>
                <a:effectLst/>
                <a:latin typeface="BlinkMacSystemFont"/>
              </a:rPr>
              <a:t>29 participants </a:t>
            </a:r>
            <a:r>
              <a:rPr lang="en-US" b="1" dirty="0">
                <a:solidFill>
                  <a:srgbClr val="0070C0"/>
                </a:solidFill>
                <a:latin typeface="BlinkMacSystemFont"/>
              </a:rPr>
              <a:t>OUT OF 72 (40%) </a:t>
            </a:r>
            <a:r>
              <a:rPr lang="en-US" b="1" i="0" dirty="0">
                <a:solidFill>
                  <a:srgbClr val="0070C0"/>
                </a:solidFill>
                <a:effectLst/>
                <a:latin typeface="BlinkMacSystemFont"/>
              </a:rPr>
              <a:t>discontinued the study prematurely</a:t>
            </a:r>
            <a:endParaRPr lang="it-IT" b="1" dirty="0">
              <a:solidFill>
                <a:srgbClr val="0070C0"/>
              </a:solidFill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01B1342C-98A1-4D0B-B5C2-E37B59D66F97}"/>
              </a:ext>
            </a:extLst>
          </p:cNvPr>
          <p:cNvSpPr txBox="1"/>
          <p:nvPr/>
        </p:nvSpPr>
        <p:spPr>
          <a:xfrm>
            <a:off x="4629796" y="90047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BMI </a:t>
            </a:r>
            <a:r>
              <a:rPr lang="it-IT" dirty="0" err="1"/>
              <a:t>was</a:t>
            </a:r>
            <a:r>
              <a:rPr lang="it-IT" dirty="0"/>
              <a:t> 32·1 (5·1) kg/m²</a:t>
            </a:r>
          </a:p>
        </p:txBody>
      </p:sp>
    </p:spTree>
    <p:extLst>
      <p:ext uri="{BB962C8B-B14F-4D97-AF65-F5344CB8AC3E}">
        <p14:creationId xmlns:p14="http://schemas.microsoft.com/office/powerpoint/2010/main" val="3555104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8D8C9A58-FE5A-4420-BEAC-B5F97B5AE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010"/>
            <a:ext cx="6458851" cy="4744112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4F33820D-9F45-4205-B1F4-E134CDE16DC4}"/>
              </a:ext>
            </a:extLst>
          </p:cNvPr>
          <p:cNvSpPr txBox="1"/>
          <p:nvPr/>
        </p:nvSpPr>
        <p:spPr>
          <a:xfrm>
            <a:off x="362851" y="611759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dirty="0"/>
              <a:t>Lancet. 2023 </a:t>
            </a:r>
            <a:r>
              <a:rPr lang="fr-FR" sz="1200" dirty="0" err="1"/>
              <a:t>Aug</a:t>
            </a:r>
            <a:r>
              <a:rPr lang="fr-FR" sz="1200" dirty="0"/>
              <a:t> 12;402(10401):529-544.</a:t>
            </a:r>
            <a:endParaRPr lang="it-IT" sz="12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1605904B-EB97-4D7F-A30B-A235CCF69C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0200" y="1"/>
            <a:ext cx="5511800" cy="4975318"/>
          </a:xfrm>
          <a:prstGeom prst="rect">
            <a:avLst/>
          </a:prstGeom>
        </p:spPr>
      </p:pic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92768433-14BE-4402-BF33-13901D5E9932}"/>
              </a:ext>
            </a:extLst>
          </p:cNvPr>
          <p:cNvCxnSpPr/>
          <p:nvPr/>
        </p:nvCxnSpPr>
        <p:spPr>
          <a:xfrm flipH="1">
            <a:off x="2980267" y="4436533"/>
            <a:ext cx="37253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9">
            <a:extLst>
              <a:ext uri="{FF2B5EF4-FFF2-40B4-BE49-F238E27FC236}">
                <a16:creationId xmlns:a16="http://schemas.microsoft.com/office/drawing/2014/main" id="{D483ACD3-1680-4014-BBAE-F88F9232DF04}"/>
              </a:ext>
            </a:extLst>
          </p:cNvPr>
          <p:cNvCxnSpPr/>
          <p:nvPr/>
        </p:nvCxnSpPr>
        <p:spPr>
          <a:xfrm flipH="1">
            <a:off x="11353801" y="1752600"/>
            <a:ext cx="37253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F206590-3918-4FA3-847F-AE73391246A4}"/>
              </a:ext>
            </a:extLst>
          </p:cNvPr>
          <p:cNvSpPr txBox="1"/>
          <p:nvPr/>
        </p:nvSpPr>
        <p:spPr>
          <a:xfrm>
            <a:off x="1929846" y="5385191"/>
            <a:ext cx="28964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0070C0"/>
                </a:solidFill>
              </a:rPr>
              <a:t>Obesity and </a:t>
            </a:r>
            <a:r>
              <a:rPr lang="it-IT" b="1" dirty="0" err="1">
                <a:solidFill>
                  <a:srgbClr val="0070C0"/>
                </a:solidFill>
              </a:rPr>
              <a:t>Type</a:t>
            </a:r>
            <a:r>
              <a:rPr lang="it-IT" b="1" dirty="0">
                <a:solidFill>
                  <a:srgbClr val="0070C0"/>
                </a:solidFill>
              </a:rPr>
              <a:t> 2 Diabetes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61A5CF2-50DE-46A2-8E7C-C99E6F3F8BF1}"/>
              </a:ext>
            </a:extLst>
          </p:cNvPr>
          <p:cNvSpPr txBox="1"/>
          <p:nvPr/>
        </p:nvSpPr>
        <p:spPr>
          <a:xfrm>
            <a:off x="8492067" y="5385191"/>
            <a:ext cx="33174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1" dirty="0" err="1">
                <a:solidFill>
                  <a:srgbClr val="0070C0"/>
                </a:solidFill>
              </a:rPr>
              <a:t>Type</a:t>
            </a:r>
            <a:r>
              <a:rPr lang="it-IT" b="1" dirty="0">
                <a:solidFill>
                  <a:srgbClr val="0070C0"/>
                </a:solidFill>
              </a:rPr>
              <a:t> 2 Diabetes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3CCF0432-80A1-4795-A055-6F8E1932FCF6}"/>
              </a:ext>
            </a:extLst>
          </p:cNvPr>
          <p:cNvSpPr txBox="1"/>
          <p:nvPr/>
        </p:nvSpPr>
        <p:spPr>
          <a:xfrm>
            <a:off x="7585655" y="6112735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dirty="0"/>
              <a:t>N </a:t>
            </a:r>
            <a:r>
              <a:rPr lang="it-IT" sz="1200" dirty="0" err="1"/>
              <a:t>Engl</a:t>
            </a:r>
            <a:r>
              <a:rPr lang="it-IT" sz="1200" dirty="0"/>
              <a:t> J Med. 2023 </a:t>
            </a:r>
            <a:r>
              <a:rPr lang="it-IT" sz="1200" dirty="0" err="1"/>
              <a:t>Aug</a:t>
            </a:r>
            <a:r>
              <a:rPr lang="it-IT" sz="1200" dirty="0"/>
              <a:t> 10;389(6):514-526.</a:t>
            </a: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DFA3456E-1C67-42B0-A0E1-562E94879A65}"/>
              </a:ext>
            </a:extLst>
          </p:cNvPr>
          <p:cNvCxnSpPr/>
          <p:nvPr/>
        </p:nvCxnSpPr>
        <p:spPr>
          <a:xfrm flipH="1">
            <a:off x="3743864" y="3588588"/>
            <a:ext cx="2596551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E9911F88-0219-418A-853B-4414F2E538B3}"/>
              </a:ext>
            </a:extLst>
          </p:cNvPr>
          <p:cNvCxnSpPr/>
          <p:nvPr/>
        </p:nvCxnSpPr>
        <p:spPr>
          <a:xfrm flipH="1">
            <a:off x="3717985" y="4002657"/>
            <a:ext cx="261380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e 19">
            <a:extLst>
              <a:ext uri="{FF2B5EF4-FFF2-40B4-BE49-F238E27FC236}">
                <a16:creationId xmlns:a16="http://schemas.microsoft.com/office/drawing/2014/main" id="{1B33287B-DEB5-42B9-AB7E-1CAFF53DA440}"/>
              </a:ext>
            </a:extLst>
          </p:cNvPr>
          <p:cNvSpPr/>
          <p:nvPr/>
        </p:nvSpPr>
        <p:spPr>
          <a:xfrm>
            <a:off x="9333780" y="2898475"/>
            <a:ext cx="405443" cy="35368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F0D7261D-2B16-428C-AB15-CFD18A597891}"/>
              </a:ext>
            </a:extLst>
          </p:cNvPr>
          <p:cNvSpPr/>
          <p:nvPr/>
        </p:nvSpPr>
        <p:spPr>
          <a:xfrm>
            <a:off x="10072776" y="3075318"/>
            <a:ext cx="405443" cy="35368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2966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3718FC2-B6E5-B17A-FB28-2D43576E90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6248" y="0"/>
            <a:ext cx="8219503" cy="6858000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0AB4BE33-E0AE-FD47-EC2A-CAF7B761BB35}"/>
              </a:ext>
            </a:extLst>
          </p:cNvPr>
          <p:cNvSpPr txBox="1"/>
          <p:nvPr/>
        </p:nvSpPr>
        <p:spPr>
          <a:xfrm>
            <a:off x="0" y="5774144"/>
            <a:ext cx="28378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0" i="0" dirty="0">
                <a:solidFill>
                  <a:srgbClr val="212121"/>
                </a:solidFill>
                <a:effectLst/>
                <a:latin typeface="BlinkMacSystemFont"/>
              </a:rPr>
              <a:t>Lancet Diabetes Endocrinol. </a:t>
            </a:r>
          </a:p>
          <a:p>
            <a:r>
              <a:rPr lang="pt-BR" b="0" i="0" dirty="0">
                <a:solidFill>
                  <a:srgbClr val="212121"/>
                </a:solidFill>
                <a:effectLst/>
                <a:latin typeface="BlinkMacSystemFont"/>
              </a:rPr>
              <a:t>2024 Mar;12(3):162-173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969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6F0A3B6-CEBD-4BA8-297B-E89E24437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8417" y="0"/>
            <a:ext cx="5235166" cy="685800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E41E7F-5223-978A-8F7C-6BD0BE2B064E}"/>
              </a:ext>
            </a:extLst>
          </p:cNvPr>
          <p:cNvSpPr txBox="1"/>
          <p:nvPr/>
        </p:nvSpPr>
        <p:spPr>
          <a:xfrm>
            <a:off x="9075811" y="380880"/>
            <a:ext cx="25241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AMG 133  Amgen</a:t>
            </a:r>
          </a:p>
          <a:p>
            <a:r>
              <a:rPr lang="en-US" b="1" dirty="0">
                <a:solidFill>
                  <a:srgbClr val="0070C0"/>
                </a:solidFill>
              </a:rPr>
              <a:t>(</a:t>
            </a:r>
            <a:r>
              <a:rPr lang="en-US" b="1" dirty="0" err="1">
                <a:solidFill>
                  <a:srgbClr val="0070C0"/>
                </a:solidFill>
              </a:rPr>
              <a:t>maridebart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cafraglutide</a:t>
            </a:r>
            <a:r>
              <a:rPr lang="en-US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EC268B0-9917-47FB-42C1-DE213827CAD8}"/>
              </a:ext>
            </a:extLst>
          </p:cNvPr>
          <p:cNvSpPr txBox="1"/>
          <p:nvPr/>
        </p:nvSpPr>
        <p:spPr>
          <a:xfrm>
            <a:off x="8990353" y="2333293"/>
            <a:ext cx="297400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immunoglobulin G1-kappa, </a:t>
            </a:r>
          </a:p>
          <a:p>
            <a:r>
              <a:rPr lang="en-US" b="1" dirty="0">
                <a:solidFill>
                  <a:srgbClr val="0070C0"/>
                </a:solidFill>
              </a:rPr>
              <a:t>anti-GIPR (gastric inhibitory </a:t>
            </a:r>
          </a:p>
          <a:p>
            <a:r>
              <a:rPr lang="en-US" b="1" dirty="0">
                <a:solidFill>
                  <a:srgbClr val="0070C0"/>
                </a:solidFill>
              </a:rPr>
              <a:t>polypeptide receptor) </a:t>
            </a:r>
          </a:p>
          <a:p>
            <a:r>
              <a:rPr lang="en-US" b="1" dirty="0">
                <a:solidFill>
                  <a:srgbClr val="0070C0"/>
                </a:solidFill>
              </a:rPr>
              <a:t>monoclonal antibody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BEF06EC-0CF6-058A-F8AE-1BC15EBED796}"/>
              </a:ext>
            </a:extLst>
          </p:cNvPr>
          <p:cNvSpPr txBox="1"/>
          <p:nvPr/>
        </p:nvSpPr>
        <p:spPr>
          <a:xfrm>
            <a:off x="9075811" y="1495586"/>
            <a:ext cx="60974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is  a dual GIPR antagonist </a:t>
            </a:r>
          </a:p>
          <a:p>
            <a:r>
              <a:rPr lang="en-US" b="1" dirty="0"/>
              <a:t>and GLP-1R agonist 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08F73ED3-0B66-6A69-279B-B892CCB9F431}"/>
              </a:ext>
            </a:extLst>
          </p:cNvPr>
          <p:cNvSpPr txBox="1"/>
          <p:nvPr/>
        </p:nvSpPr>
        <p:spPr>
          <a:xfrm>
            <a:off x="83527" y="6435028"/>
            <a:ext cx="75877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at </a:t>
            </a:r>
            <a:r>
              <a:rPr lang="en-US" dirty="0" err="1"/>
              <a:t>Metab</a:t>
            </a:r>
            <a:r>
              <a:rPr lang="en-US" dirty="0"/>
              <a:t>. 2024 Feb 5;6(2):290–303</a:t>
            </a:r>
          </a:p>
        </p:txBody>
      </p:sp>
    </p:spTree>
    <p:extLst>
      <p:ext uri="{BB962C8B-B14F-4D97-AF65-F5344CB8AC3E}">
        <p14:creationId xmlns:p14="http://schemas.microsoft.com/office/powerpoint/2010/main" val="1132471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oh97MgnSTLC0cZHfkVw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XYwHzeG06JRgkDgyKl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 Nordisk 2020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19F1F4CC-E50E-4E34-8EB9-E9E372C62EB9}" vid="{18D152BD-36C0-43FC-891C-4E416CFD5944}"/>
    </a:ext>
  </a:extLst>
</a:theme>
</file>

<file path=ppt/theme/theme3.xml><?xml version="1.0" encoding="utf-8"?>
<a:theme xmlns:a="http://schemas.openxmlformats.org/drawingml/2006/main" name="2020 NN Sema Obesity CSD">
  <a:themeElements>
    <a:clrScheme name="NN 2020 Rebrand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">
      <a:majorFont>
        <a:latin typeface="Apis"/>
        <a:ea typeface=""/>
        <a:cs typeface=""/>
      </a:majorFont>
      <a:minorFont>
        <a:latin typeface="Ap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ccent 1">
      <a:srgbClr val="001965"/>
    </a:custClr>
    <a:custClr name="Accent 2">
      <a:srgbClr val="005AD2"/>
    </a:custClr>
    <a:custClr name="Accent 3">
      <a:srgbClr val="3B97DE"/>
    </a:custClr>
    <a:custClr name="Accent 4">
      <a:srgbClr val="EEA7BF"/>
    </a:custClr>
    <a:custClr name="Accent 5">
      <a:srgbClr val="2A918B"/>
    </a:custClr>
    <a:custClr name="Accent 6">
      <a:srgbClr val="939AA7"/>
    </a:custClr>
    <a:custClr name="Light 2">
      <a:srgbClr val="CCC5BD"/>
    </a:custClr>
    <a:custClr name="Dark 1">
      <a:srgbClr val="000000"/>
    </a:custClr>
    <a:custClr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99BDED"/>
    </a:custClr>
    <a:custClr name="Accent 3">
      <a:srgbClr val="B1D5F2"/>
    </a:custClr>
    <a:custClr name="Accent 4">
      <a:srgbClr val="F8DCE5"/>
    </a:custClr>
    <a:custClr name="Accent 5">
      <a:srgbClr val="AAD3D1"/>
    </a:custClr>
    <a:custClr name="Accent 6">
      <a:srgbClr val="D4D7DC"/>
    </a:custClr>
    <a:custClr name="Light 2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CCDEF6"/>
    </a:custClr>
    <a:custClr name="Accent 3">
      <a:srgbClr val="D8EAF8"/>
    </a:custClr>
    <a:custClr name="Accent 4">
      <a:srgbClr val="FCEDF2"/>
    </a:custClr>
    <a:custClr name="Accent 5">
      <a:srgbClr val="D4E9E8"/>
    </a:custClr>
    <a:custClr name="Accent 6">
      <a:srgbClr val="E9EBED"/>
    </a:custClr>
    <a:custClr name="Light 2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909C29A5-E88E-48A9-8FEA-98397920CF68}" vid="{8A5C03E6-BC19-4ABC-A5C6-B7977B8DD495}"/>
    </a:ext>
  </a:extLst>
</a:theme>
</file>

<file path=ppt/theme/theme4.xml><?xml version="1.0" encoding="utf-8"?>
<a:theme xmlns:a="http://schemas.openxmlformats.org/drawingml/2006/main" name="8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 Nordisk 2020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19F1F4CC-E50E-4E34-8EB9-E9E372C62EB9}" vid="{18D152BD-36C0-43FC-891C-4E416CFD5944}"/>
    </a:ext>
  </a:extLst>
</a:theme>
</file>

<file path=ppt/theme/theme5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27</TotalTime>
  <Words>1087</Words>
  <Application>Microsoft Office PowerPoint</Application>
  <PresentationFormat>Widescreen</PresentationFormat>
  <Paragraphs>116</Paragraphs>
  <Slides>2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41" baseType="lpstr">
      <vt:lpstr>Apis</vt:lpstr>
      <vt:lpstr>Apis For Office</vt:lpstr>
      <vt:lpstr>Apis For Office Light</vt:lpstr>
      <vt:lpstr>Arial</vt:lpstr>
      <vt:lpstr>BlinkMacSystemFont</vt:lpstr>
      <vt:lpstr>Brush Script MT</vt:lpstr>
      <vt:lpstr>Calibri</vt:lpstr>
      <vt:lpstr>Calibri Light</vt:lpstr>
      <vt:lpstr>Cambria</vt:lpstr>
      <vt:lpstr>ff-scala-sans-pro</vt:lpstr>
      <vt:lpstr>Google Sans</vt:lpstr>
      <vt:lpstr>interfaceregular</vt:lpstr>
      <vt:lpstr>OTNEJMScalaSansLF</vt:lpstr>
      <vt:lpstr>Verdana</vt:lpstr>
      <vt:lpstr>Tema di Office</vt:lpstr>
      <vt:lpstr>2_Novo Nordisk 16:9</vt:lpstr>
      <vt:lpstr>2020 NN Sema Obesity CSD</vt:lpstr>
      <vt:lpstr>8_Novo Nordisk 16:9</vt:lpstr>
      <vt:lpstr>Novo Nordisk 16:9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ere is an unmet need for therapies that reduce  CV events and support weight manageme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Novo Nordis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raglutide in bariatric surgery preparation</dc:title>
  <dc:creator>OZDE (Dario Dezi)</dc:creator>
  <cp:lastModifiedBy>Mingrone Geltrude</cp:lastModifiedBy>
  <cp:revision>58</cp:revision>
  <dcterms:created xsi:type="dcterms:W3CDTF">2023-11-03T07:52:40Z</dcterms:created>
  <dcterms:modified xsi:type="dcterms:W3CDTF">2025-03-31T12:47:27Z</dcterms:modified>
</cp:coreProperties>
</file>